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30" r:id="rId5"/>
    <p:sldMasterId id="2147483780" r:id="rId6"/>
    <p:sldMasterId id="2147483805" r:id="rId7"/>
  </p:sldMasterIdLst>
  <p:notesMasterIdLst>
    <p:notesMasterId r:id="rId27"/>
  </p:notesMasterIdLst>
  <p:sldIdLst>
    <p:sldId id="328" r:id="rId8"/>
    <p:sldId id="324" r:id="rId9"/>
    <p:sldId id="329" r:id="rId10"/>
    <p:sldId id="312" r:id="rId11"/>
    <p:sldId id="316" r:id="rId12"/>
    <p:sldId id="317" r:id="rId13"/>
    <p:sldId id="313" r:id="rId14"/>
    <p:sldId id="327" r:id="rId15"/>
    <p:sldId id="319" r:id="rId16"/>
    <p:sldId id="323" r:id="rId17"/>
    <p:sldId id="321" r:id="rId18"/>
    <p:sldId id="302" r:id="rId19"/>
    <p:sldId id="292" r:id="rId20"/>
    <p:sldId id="315" r:id="rId21"/>
    <p:sldId id="303" r:id="rId22"/>
    <p:sldId id="322" r:id="rId23"/>
    <p:sldId id="298" r:id="rId24"/>
    <p:sldId id="297" r:id="rId25"/>
    <p:sldId id="309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61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F902FD-ECDE-4704-A59B-9706EE75413E}" v="169" dt="2023-06-23T19:36:03.444"/>
    <p1510:client id="{0D5B6A9F-DD9B-4A6E-AB84-1387F1E5EA10}" v="435" dt="2023-06-25T01:50:12.338"/>
    <p1510:client id="{0D78A903-D761-4693-807D-F8EA1BCD548D}" v="14" dt="2023-06-25T03:40:35.043"/>
    <p1510:client id="{156A8B7B-D241-4FC7-88E0-F4460471FB4A}" v="1583" dt="2023-06-24T23:47:45.198"/>
    <p1510:client id="{15AE6749-A66A-428E-8E75-50485C84554C}" v="878" dt="2023-07-08T15:25:13.325"/>
    <p1510:client id="{1975C34F-399D-422C-A562-9F1A4F649CE1}" v="1" dt="2023-06-24T07:17:26.177"/>
    <p1510:client id="{1993F5EA-D987-4F15-B771-F67578E42264}" v="355" dt="2023-06-25T03:19:50.132"/>
    <p1510:client id="{1C3CD7B4-719D-4B71-9BA5-1D897B9E4583}" v="39" dt="2023-07-07T21:55:51.649"/>
    <p1510:client id="{1CD23A8C-0A2D-411E-BB9E-846E6FB903CD}" v="149" dt="2023-07-08T21:13:16.376"/>
    <p1510:client id="{1D359D62-4C84-450E-91B4-320F4F2514C8}" v="104" dt="2023-06-25T03:46:23.646"/>
    <p1510:client id="{1DB01AEC-DA84-4961-8C3E-9BB31EC8DF63}" v="456" dt="2023-06-25T00:10:28.126"/>
    <p1510:client id="{2054761F-C829-4789-B5A4-B986E6B21843}" v="3" dt="2023-07-08T00:29:05.097"/>
    <p1510:client id="{24B5A579-5437-4D87-A067-B9176B22C127}" v="1486" dt="2023-06-24T23:44:51.200"/>
    <p1510:client id="{38B40131-C02E-4039-9831-732124842A94}" v="147" dt="2023-06-25T03:17:02.868"/>
    <p1510:client id="{3A2C88B2-7B21-4A16-B99C-59869ECE579C}" v="19" dt="2023-06-23T03:54:29.098"/>
    <p1510:client id="{3A8A289A-6016-44D3-903D-4832965C16CF}" v="11" vWet="12" dt="2023-06-24T19:59:57.273"/>
    <p1510:client id="{465F642D-492A-46E6-85D8-3B0D82A05D13}" v="319" dt="2023-06-23T22:52:29.098"/>
    <p1510:client id="{48BCF5D6-CB8F-4B2E-BBEA-00734DD3790B}" v="26" dt="2023-06-24T20:08:42.347"/>
    <p1510:client id="{4DD4EC45-E9B3-4DDF-9292-C40F9DE7B13A}" v="206" dt="2023-07-08T23:26:28.004"/>
    <p1510:client id="{5F3F001D-9476-4825-BE64-70F6509237E2}" v="24" dt="2023-07-07T22:03:42.182"/>
    <p1510:client id="{6128EAEE-1387-42A7-9344-EEF153CFD5C4}" v="221" dt="2023-07-08T20:28:00.586"/>
    <p1510:client id="{6948B074-5E1D-4322-AB23-C02F6AA6D3FA}" v="1" dt="2023-06-23T21:57:42.678"/>
    <p1510:client id="{795D5ECB-8FD7-40BB-B963-6FA5A61937EC}" v="167" dt="2023-06-24T22:07:08.450"/>
    <p1510:client id="{7AC679B2-424F-44A8-A051-CA28FFFEA849}" v="12" dt="2023-06-24T19:41:39.784"/>
    <p1510:client id="{7D435B1B-02B5-4D1D-8ABB-E7FB8A2C833B}" v="1" dt="2023-06-24T02:10:45.043"/>
    <p1510:client id="{8CEBA60B-4976-48D9-973E-5E08A3E49673}" v="244" dt="2023-06-24T21:54:45.643"/>
    <p1510:client id="{8DEC6086-2F1A-46E2-9E9B-88A32AAAE6D2}" v="470" dt="2023-06-23T23:13:26.701"/>
    <p1510:client id="{8F0869E7-4974-4290-836A-305455B82603}" v="5" dt="2023-07-08T23:46:52.105"/>
    <p1510:client id="{93BA872F-696E-443E-BA87-60DEECA0F373}" v="261" dt="2023-06-25T02:13:43.594"/>
    <p1510:client id="{A2B592FF-0390-40C2-BC50-A84FF8286EA4}" v="248" dt="2023-06-23T21:56:17.466"/>
    <p1510:client id="{A35A8BF4-D37A-4AFC-BA40-7DC7C4B5BD4E}" v="166" dt="2023-07-07T21:34:01.861"/>
    <p1510:client id="{A3BBA17E-D6D4-4D78-BA0F-9A1DC77CE132}" v="940" dt="2023-07-08T00:25:24.243"/>
    <p1510:client id="{AB453F56-8055-4EA4-8D90-6BF1072D3123}" v="214" dt="2023-06-24T23:56:39.583"/>
    <p1510:client id="{ACF1ED89-337E-4CAF-82B1-CC1BA0F4A333}" v="2477" dt="2023-06-24T22:09:28.172"/>
    <p1510:client id="{B6B2FAA8-19DD-480B-B498-95BBA2AAEB93}" v="4" dt="2023-07-08T22:24:47.218"/>
    <p1510:client id="{C09602F1-2AD0-44A3-8C19-44E65827FD41}" v="617" dt="2023-07-08T18:36:44.862"/>
    <p1510:client id="{C2162F43-D0BD-43BF-A8E4-A7010BA2288B}" v="117" dt="2023-07-08T22:22:09.866"/>
    <p1510:client id="{C59EE451-151A-4FCE-A1D7-D90E515FF8A8}" v="225" dt="2023-07-08T23:29:34.892"/>
    <p1510:client id="{C69649E5-D73F-4F57-A4B3-5BDCDF39E600}" v="506" dt="2023-07-08T23:43:27.508"/>
    <p1510:client id="{C87ED34E-1ED7-42FE-A071-146D7B037106}" v="18" dt="2023-07-07T02:17:59.869"/>
    <p1510:client id="{D218789C-993E-488B-B16D-9AD8BB1D4B71}" v="1114" dt="2023-07-08T21:07:01.489"/>
    <p1510:client id="{D2342289-28F5-4006-B027-3810EFB6A3DC}" v="2" dt="2023-06-23T01:19:55.771"/>
    <p1510:client id="{D2ACA358-4654-495B-83EF-8222B08CB5FD}" v="135" dt="2023-07-08T17:20:40.573"/>
    <p1510:client id="{D418BE6C-FC03-4933-8007-9A1B2BE2F97E}" v="35" dt="2023-06-24T16:57:30.432"/>
    <p1510:client id="{DA43DE23-5EF0-4BB3-B3C4-D9CD5519AA19}" v="349" dt="2023-06-24T21:07:50.265"/>
    <p1510:client id="{E4EAD5EF-2A73-48DB-8FBC-C11C665F6576}" v="36" dt="2023-06-23T00:05:57.684"/>
    <p1510:client id="{ECBAD4EA-5C64-41B2-AB71-4384A9A1095A}" v="17" dt="2023-06-25T01:02:23.571"/>
    <p1510:client id="{F3382B8F-FD68-4FF4-B10A-787050D17A9F}" v="190" dt="2023-06-25T00:16:05.708"/>
    <p1510:client id="{F445D634-52BF-424D-B09A-B1671C5B2F27}" v="1" dt="2023-06-23T14:08:20.390"/>
    <p1510:client id="{FEFC4A60-78E5-4B3E-80B6-C51EF4ACCF5F}" v="3" dt="2023-06-23T21:45:54.4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03D4AC-A493-4149-8821-777BB106BE74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F5FA4B9-9055-46D3-ACA1-2222791E21BA}">
      <dgm:prSet phldrT="[Text]" phldr="0"/>
      <dgm:spPr/>
      <dgm:t>
        <a:bodyPr/>
        <a:lstStyle/>
        <a:p>
          <a:pPr rtl="0"/>
          <a:r>
            <a:rPr lang="en-US" b="1">
              <a:solidFill>
                <a:schemeClr val="bg1"/>
              </a:solidFill>
            </a:rPr>
            <a:t>Challenging established hotel chains</a:t>
          </a:r>
          <a:endParaRPr lang="en-US"/>
        </a:p>
      </dgm:t>
    </dgm:pt>
    <dgm:pt modelId="{CD361D17-88A6-41EF-858F-CC9F17BD107A}" type="parTrans" cxnId="{B2AF1225-18A0-4BB3-9BFA-92632362875A}">
      <dgm:prSet/>
      <dgm:spPr/>
      <dgm:t>
        <a:bodyPr/>
        <a:lstStyle/>
        <a:p>
          <a:endParaRPr lang="en-US"/>
        </a:p>
      </dgm:t>
    </dgm:pt>
    <dgm:pt modelId="{6722FCEC-BE62-489F-BA4E-284A4F667888}" type="sibTrans" cxnId="{B2AF1225-18A0-4BB3-9BFA-92632362875A}">
      <dgm:prSet/>
      <dgm:spPr/>
      <dgm:t>
        <a:bodyPr/>
        <a:lstStyle/>
        <a:p>
          <a:endParaRPr lang="en-US"/>
        </a:p>
      </dgm:t>
    </dgm:pt>
    <dgm:pt modelId="{F9C1881F-A4A6-419C-A9D1-B98D6AF26CFC}">
      <dgm:prSet phldrT="[Text]" phldr="0"/>
      <dgm:spPr/>
      <dgm:t>
        <a:bodyPr/>
        <a:lstStyle/>
        <a:p>
          <a:pPr rtl="0"/>
          <a:r>
            <a:rPr lang="en-US" b="1">
              <a:solidFill>
                <a:schemeClr val="bg1"/>
              </a:solidFill>
            </a:rPr>
            <a:t>Disrupted the value chain by disintermediation</a:t>
          </a:r>
          <a:endParaRPr lang="en-US"/>
        </a:p>
      </dgm:t>
    </dgm:pt>
    <dgm:pt modelId="{1095600E-A637-483A-A4BC-5E0123B898A2}" type="parTrans" cxnId="{57D2658E-5593-4F8B-9142-2E43F0A7E24E}">
      <dgm:prSet/>
      <dgm:spPr/>
      <dgm:t>
        <a:bodyPr/>
        <a:lstStyle/>
        <a:p>
          <a:endParaRPr lang="en-US"/>
        </a:p>
      </dgm:t>
    </dgm:pt>
    <dgm:pt modelId="{5CADAC2D-46DE-4FE4-9CCB-256A7AC17869}" type="sibTrans" cxnId="{57D2658E-5593-4F8B-9142-2E43F0A7E24E}">
      <dgm:prSet/>
      <dgm:spPr/>
      <dgm:t>
        <a:bodyPr/>
        <a:lstStyle/>
        <a:p>
          <a:endParaRPr lang="en-US"/>
        </a:p>
      </dgm:t>
    </dgm:pt>
    <dgm:pt modelId="{437C73A8-DE64-4E9B-91DF-E8D36A68E362}">
      <dgm:prSet phldr="0"/>
      <dgm:spPr/>
      <dgm:t>
        <a:bodyPr/>
        <a:lstStyle/>
        <a:p>
          <a:pPr rtl="0"/>
          <a:r>
            <a:rPr lang="en-US" b="1">
              <a:solidFill>
                <a:schemeClr val="bg1"/>
              </a:solidFill>
            </a:rPr>
            <a:t>Diversified offerings</a:t>
          </a:r>
          <a:endParaRPr lang="en-US" b="1">
            <a:latin typeface="Circular"/>
          </a:endParaRPr>
        </a:p>
      </dgm:t>
    </dgm:pt>
    <dgm:pt modelId="{06ED765B-EEAA-45DA-8E41-BDC00A199BD9}" type="parTrans" cxnId="{83EE0225-9113-442B-9F32-A1B72BAA2A08}">
      <dgm:prSet/>
      <dgm:spPr/>
    </dgm:pt>
    <dgm:pt modelId="{8C7D8F19-4526-47F2-89E9-D19B1FD65074}" type="sibTrans" cxnId="{83EE0225-9113-442B-9F32-A1B72BAA2A08}">
      <dgm:prSet/>
      <dgm:spPr/>
    </dgm:pt>
    <dgm:pt modelId="{B82B5912-6CF7-4AD1-8C60-F13194FA3518}">
      <dgm:prSet phldr="0"/>
      <dgm:spPr/>
      <dgm:t>
        <a:bodyPr/>
        <a:lstStyle/>
        <a:p>
          <a:pPr rtl="0"/>
          <a:r>
            <a:rPr lang="en-US" b="1">
              <a:solidFill>
                <a:schemeClr val="bg1"/>
              </a:solidFill>
            </a:rPr>
            <a:t>Disruption of travel behavior</a:t>
          </a:r>
          <a:endParaRPr lang="en-US" b="1">
            <a:latin typeface="Circular"/>
          </a:endParaRPr>
        </a:p>
      </dgm:t>
    </dgm:pt>
    <dgm:pt modelId="{9DB23CB3-E4D2-4EF6-8984-BADD46E764E3}" type="parTrans" cxnId="{796377D1-F718-4828-BCE1-A90032182991}">
      <dgm:prSet/>
      <dgm:spPr/>
    </dgm:pt>
    <dgm:pt modelId="{3036D113-52D3-4904-954A-C942611CAF90}" type="sibTrans" cxnId="{796377D1-F718-4828-BCE1-A90032182991}">
      <dgm:prSet/>
      <dgm:spPr/>
    </dgm:pt>
    <dgm:pt modelId="{B1BEB725-4DF7-491E-B6B8-23C87EF9E471}">
      <dgm:prSet phldr="0"/>
      <dgm:spPr/>
      <dgm:t>
        <a:bodyPr/>
        <a:lstStyle/>
        <a:p>
          <a:pPr rtl="0"/>
          <a:r>
            <a:rPr lang="en-US" b="1">
              <a:solidFill>
                <a:srgbClr val="FFFFFF"/>
              </a:solidFill>
            </a:rPr>
            <a:t>Instant bookings</a:t>
          </a:r>
          <a:endParaRPr lang="en-US" b="1">
            <a:latin typeface="Circular"/>
          </a:endParaRPr>
        </a:p>
      </dgm:t>
    </dgm:pt>
    <dgm:pt modelId="{62188930-A026-4F67-AB15-D1524AC546B9}" type="parTrans" cxnId="{6A06C61D-5FD1-4519-8623-7DFD332AC07A}">
      <dgm:prSet/>
      <dgm:spPr/>
    </dgm:pt>
    <dgm:pt modelId="{C56D429F-AA65-4F97-89A1-D5FA74FEB2BC}" type="sibTrans" cxnId="{6A06C61D-5FD1-4519-8623-7DFD332AC07A}">
      <dgm:prSet/>
      <dgm:spPr/>
    </dgm:pt>
    <dgm:pt modelId="{11664CBE-8550-40CC-AE11-C06C2A730C5C}" type="pres">
      <dgm:prSet presAssocID="{3803D4AC-A493-4149-8821-777BB106BE74}" presName="linear" presStyleCnt="0">
        <dgm:presLayoutVars>
          <dgm:dir/>
          <dgm:animLvl val="lvl"/>
          <dgm:resizeHandles val="exact"/>
        </dgm:presLayoutVars>
      </dgm:prSet>
      <dgm:spPr/>
    </dgm:pt>
    <dgm:pt modelId="{CE76267B-4B82-4C3C-A69B-7EC7BE287A87}" type="pres">
      <dgm:prSet presAssocID="{9F5FA4B9-9055-46D3-ACA1-2222791E21BA}" presName="parentLin" presStyleCnt="0"/>
      <dgm:spPr/>
    </dgm:pt>
    <dgm:pt modelId="{D65B76C5-53F3-4187-93EE-627410658DED}" type="pres">
      <dgm:prSet presAssocID="{9F5FA4B9-9055-46D3-ACA1-2222791E21BA}" presName="parentLeftMargin" presStyleLbl="node1" presStyleIdx="0" presStyleCnt="5"/>
      <dgm:spPr/>
    </dgm:pt>
    <dgm:pt modelId="{B6F1DE96-D7A4-4F82-B0B7-15810EE1DEEC}" type="pres">
      <dgm:prSet presAssocID="{9F5FA4B9-9055-46D3-ACA1-2222791E21BA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9F952535-51C9-45E3-8032-92213228977E}" type="pres">
      <dgm:prSet presAssocID="{9F5FA4B9-9055-46D3-ACA1-2222791E21BA}" presName="negativeSpace" presStyleCnt="0"/>
      <dgm:spPr/>
    </dgm:pt>
    <dgm:pt modelId="{E6B7211B-9C81-47DA-8A8F-71B5A0B38752}" type="pres">
      <dgm:prSet presAssocID="{9F5FA4B9-9055-46D3-ACA1-2222791E21BA}" presName="childText" presStyleLbl="conFgAcc1" presStyleIdx="0" presStyleCnt="5">
        <dgm:presLayoutVars>
          <dgm:bulletEnabled val="1"/>
        </dgm:presLayoutVars>
      </dgm:prSet>
      <dgm:spPr/>
    </dgm:pt>
    <dgm:pt modelId="{66B5C6C9-456F-40D4-A0ED-3D5F944B5B17}" type="pres">
      <dgm:prSet presAssocID="{6722FCEC-BE62-489F-BA4E-284A4F667888}" presName="spaceBetweenRectangles" presStyleCnt="0"/>
      <dgm:spPr/>
    </dgm:pt>
    <dgm:pt modelId="{B8F53F3A-1ADE-428C-841E-1BA789FD334C}" type="pres">
      <dgm:prSet presAssocID="{F9C1881F-A4A6-419C-A9D1-B98D6AF26CFC}" presName="parentLin" presStyleCnt="0"/>
      <dgm:spPr/>
    </dgm:pt>
    <dgm:pt modelId="{F44996EC-5699-40DF-98FA-427D1E76B6A9}" type="pres">
      <dgm:prSet presAssocID="{F9C1881F-A4A6-419C-A9D1-B98D6AF26CFC}" presName="parentLeftMargin" presStyleLbl="node1" presStyleIdx="0" presStyleCnt="5"/>
      <dgm:spPr/>
    </dgm:pt>
    <dgm:pt modelId="{3575EAFF-5217-4499-9D0C-F62BE42A68DA}" type="pres">
      <dgm:prSet presAssocID="{F9C1881F-A4A6-419C-A9D1-B98D6AF26CFC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1B181E42-0062-4ED0-94B3-17F81650F122}" type="pres">
      <dgm:prSet presAssocID="{F9C1881F-A4A6-419C-A9D1-B98D6AF26CFC}" presName="negativeSpace" presStyleCnt="0"/>
      <dgm:spPr/>
    </dgm:pt>
    <dgm:pt modelId="{DA1CC69F-FDD7-4C5B-A1CA-6CB327939AD4}" type="pres">
      <dgm:prSet presAssocID="{F9C1881F-A4A6-419C-A9D1-B98D6AF26CFC}" presName="childText" presStyleLbl="conFgAcc1" presStyleIdx="1" presStyleCnt="5">
        <dgm:presLayoutVars>
          <dgm:bulletEnabled val="1"/>
        </dgm:presLayoutVars>
      </dgm:prSet>
      <dgm:spPr/>
    </dgm:pt>
    <dgm:pt modelId="{E1E75FDD-87F1-4A57-8FE8-D68C0F619F07}" type="pres">
      <dgm:prSet presAssocID="{5CADAC2D-46DE-4FE4-9CCB-256A7AC17869}" presName="spaceBetweenRectangles" presStyleCnt="0"/>
      <dgm:spPr/>
    </dgm:pt>
    <dgm:pt modelId="{B23EB474-50C1-4216-94CE-88A5E72CEAA3}" type="pres">
      <dgm:prSet presAssocID="{437C73A8-DE64-4E9B-91DF-E8D36A68E362}" presName="parentLin" presStyleCnt="0"/>
      <dgm:spPr/>
    </dgm:pt>
    <dgm:pt modelId="{808B6AC2-4A00-495F-93D2-74DD84F1C3B1}" type="pres">
      <dgm:prSet presAssocID="{437C73A8-DE64-4E9B-91DF-E8D36A68E362}" presName="parentLeftMargin" presStyleLbl="node1" presStyleIdx="1" presStyleCnt="5"/>
      <dgm:spPr/>
    </dgm:pt>
    <dgm:pt modelId="{50851C2B-F34A-4BF3-BADB-E19FF723D9F9}" type="pres">
      <dgm:prSet presAssocID="{437C73A8-DE64-4E9B-91DF-E8D36A68E362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2D877CF3-7D80-432B-B80E-A6DA79B74E51}" type="pres">
      <dgm:prSet presAssocID="{437C73A8-DE64-4E9B-91DF-E8D36A68E362}" presName="negativeSpace" presStyleCnt="0"/>
      <dgm:spPr/>
    </dgm:pt>
    <dgm:pt modelId="{8D100372-CF3B-4CEB-9BE5-564E3FF10A56}" type="pres">
      <dgm:prSet presAssocID="{437C73A8-DE64-4E9B-91DF-E8D36A68E362}" presName="childText" presStyleLbl="conFgAcc1" presStyleIdx="2" presStyleCnt="5">
        <dgm:presLayoutVars>
          <dgm:bulletEnabled val="1"/>
        </dgm:presLayoutVars>
      </dgm:prSet>
      <dgm:spPr/>
    </dgm:pt>
    <dgm:pt modelId="{ACE6749F-77E3-49B7-B7B0-E6D9F1A0836C}" type="pres">
      <dgm:prSet presAssocID="{8C7D8F19-4526-47F2-89E9-D19B1FD65074}" presName="spaceBetweenRectangles" presStyleCnt="0"/>
      <dgm:spPr/>
    </dgm:pt>
    <dgm:pt modelId="{57988A55-F8C0-464D-939E-DAC31289387F}" type="pres">
      <dgm:prSet presAssocID="{B82B5912-6CF7-4AD1-8C60-F13194FA3518}" presName="parentLin" presStyleCnt="0"/>
      <dgm:spPr/>
    </dgm:pt>
    <dgm:pt modelId="{0CA6BA91-A56E-45AE-8A5D-A323FF62BB2F}" type="pres">
      <dgm:prSet presAssocID="{B82B5912-6CF7-4AD1-8C60-F13194FA3518}" presName="parentLeftMargin" presStyleLbl="node1" presStyleIdx="2" presStyleCnt="5"/>
      <dgm:spPr/>
    </dgm:pt>
    <dgm:pt modelId="{38881922-5274-46CA-BA4F-FF05C4FC818C}" type="pres">
      <dgm:prSet presAssocID="{B82B5912-6CF7-4AD1-8C60-F13194FA3518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85A75A0C-E9ED-4A0A-99F6-AE35ABD1635D}" type="pres">
      <dgm:prSet presAssocID="{B82B5912-6CF7-4AD1-8C60-F13194FA3518}" presName="negativeSpace" presStyleCnt="0"/>
      <dgm:spPr/>
    </dgm:pt>
    <dgm:pt modelId="{C1EB2DD1-CDB4-4C54-A4EE-D072192F9951}" type="pres">
      <dgm:prSet presAssocID="{B82B5912-6CF7-4AD1-8C60-F13194FA3518}" presName="childText" presStyleLbl="conFgAcc1" presStyleIdx="3" presStyleCnt="5">
        <dgm:presLayoutVars>
          <dgm:bulletEnabled val="1"/>
        </dgm:presLayoutVars>
      </dgm:prSet>
      <dgm:spPr/>
    </dgm:pt>
    <dgm:pt modelId="{C746E297-A4B5-43A5-9867-9F2E9712B486}" type="pres">
      <dgm:prSet presAssocID="{3036D113-52D3-4904-954A-C942611CAF90}" presName="spaceBetweenRectangles" presStyleCnt="0"/>
      <dgm:spPr/>
    </dgm:pt>
    <dgm:pt modelId="{25E66240-E150-445D-9CD6-86A2F8EE46B5}" type="pres">
      <dgm:prSet presAssocID="{B1BEB725-4DF7-491E-B6B8-23C87EF9E471}" presName="parentLin" presStyleCnt="0"/>
      <dgm:spPr/>
    </dgm:pt>
    <dgm:pt modelId="{18611181-E2B3-4DA0-8C73-1EE004477873}" type="pres">
      <dgm:prSet presAssocID="{B1BEB725-4DF7-491E-B6B8-23C87EF9E471}" presName="parentLeftMargin" presStyleLbl="node1" presStyleIdx="3" presStyleCnt="5"/>
      <dgm:spPr/>
    </dgm:pt>
    <dgm:pt modelId="{F59E13EA-BD1C-48CE-8FC2-D8911030E2B9}" type="pres">
      <dgm:prSet presAssocID="{B1BEB725-4DF7-491E-B6B8-23C87EF9E471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E0BEE9D6-3EF9-4663-B3BC-063B4F53F3B8}" type="pres">
      <dgm:prSet presAssocID="{B1BEB725-4DF7-491E-B6B8-23C87EF9E471}" presName="negativeSpace" presStyleCnt="0"/>
      <dgm:spPr/>
    </dgm:pt>
    <dgm:pt modelId="{63BA1559-3D14-45EC-85C5-034F0E28CD02}" type="pres">
      <dgm:prSet presAssocID="{B1BEB725-4DF7-491E-B6B8-23C87EF9E471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61F5520E-6AE5-499C-9C89-7EA870726DA5}" type="presOf" srcId="{B82B5912-6CF7-4AD1-8C60-F13194FA3518}" destId="{0CA6BA91-A56E-45AE-8A5D-A323FF62BB2F}" srcOrd="0" destOrd="0" presId="urn:microsoft.com/office/officeart/2005/8/layout/list1"/>
    <dgm:cxn modelId="{6A06C61D-5FD1-4519-8623-7DFD332AC07A}" srcId="{3803D4AC-A493-4149-8821-777BB106BE74}" destId="{B1BEB725-4DF7-491E-B6B8-23C87EF9E471}" srcOrd="4" destOrd="0" parTransId="{62188930-A026-4F67-AB15-D1524AC546B9}" sibTransId="{C56D429F-AA65-4F97-89A1-D5FA74FEB2BC}"/>
    <dgm:cxn modelId="{E0A16123-3E6B-45F4-B412-ADDA030AF86E}" type="presOf" srcId="{F9C1881F-A4A6-419C-A9D1-B98D6AF26CFC}" destId="{3575EAFF-5217-4499-9D0C-F62BE42A68DA}" srcOrd="1" destOrd="0" presId="urn:microsoft.com/office/officeart/2005/8/layout/list1"/>
    <dgm:cxn modelId="{878D8224-3750-4BCE-B3AC-FBE8A2025B30}" type="presOf" srcId="{B1BEB725-4DF7-491E-B6B8-23C87EF9E471}" destId="{F59E13EA-BD1C-48CE-8FC2-D8911030E2B9}" srcOrd="1" destOrd="0" presId="urn:microsoft.com/office/officeart/2005/8/layout/list1"/>
    <dgm:cxn modelId="{9DF1F124-C499-4FDA-9FBE-DAC6CB20BA63}" type="presOf" srcId="{B82B5912-6CF7-4AD1-8C60-F13194FA3518}" destId="{38881922-5274-46CA-BA4F-FF05C4FC818C}" srcOrd="1" destOrd="0" presId="urn:microsoft.com/office/officeart/2005/8/layout/list1"/>
    <dgm:cxn modelId="{83EE0225-9113-442B-9F32-A1B72BAA2A08}" srcId="{3803D4AC-A493-4149-8821-777BB106BE74}" destId="{437C73A8-DE64-4E9B-91DF-E8D36A68E362}" srcOrd="2" destOrd="0" parTransId="{06ED765B-EEAA-45DA-8E41-BDC00A199BD9}" sibTransId="{8C7D8F19-4526-47F2-89E9-D19B1FD65074}"/>
    <dgm:cxn modelId="{B2AF1225-18A0-4BB3-9BFA-92632362875A}" srcId="{3803D4AC-A493-4149-8821-777BB106BE74}" destId="{9F5FA4B9-9055-46D3-ACA1-2222791E21BA}" srcOrd="0" destOrd="0" parTransId="{CD361D17-88A6-41EF-858F-CC9F17BD107A}" sibTransId="{6722FCEC-BE62-489F-BA4E-284A4F667888}"/>
    <dgm:cxn modelId="{04AD843D-43E8-4FF8-98E5-A7352A6CD075}" type="presOf" srcId="{3803D4AC-A493-4149-8821-777BB106BE74}" destId="{11664CBE-8550-40CC-AE11-C06C2A730C5C}" srcOrd="0" destOrd="0" presId="urn:microsoft.com/office/officeart/2005/8/layout/list1"/>
    <dgm:cxn modelId="{9FC0848C-0666-405E-AE96-4ABBB0D3EB5C}" type="presOf" srcId="{9F5FA4B9-9055-46D3-ACA1-2222791E21BA}" destId="{B6F1DE96-D7A4-4F82-B0B7-15810EE1DEEC}" srcOrd="1" destOrd="0" presId="urn:microsoft.com/office/officeart/2005/8/layout/list1"/>
    <dgm:cxn modelId="{57D2658E-5593-4F8B-9142-2E43F0A7E24E}" srcId="{3803D4AC-A493-4149-8821-777BB106BE74}" destId="{F9C1881F-A4A6-419C-A9D1-B98D6AF26CFC}" srcOrd="1" destOrd="0" parTransId="{1095600E-A637-483A-A4BC-5E0123B898A2}" sibTransId="{5CADAC2D-46DE-4FE4-9CCB-256A7AC17869}"/>
    <dgm:cxn modelId="{3BAEAEAA-3E36-4134-AB36-3B558E789723}" type="presOf" srcId="{B1BEB725-4DF7-491E-B6B8-23C87EF9E471}" destId="{18611181-E2B3-4DA0-8C73-1EE004477873}" srcOrd="0" destOrd="0" presId="urn:microsoft.com/office/officeart/2005/8/layout/list1"/>
    <dgm:cxn modelId="{4155A1AD-C9F1-4054-B159-0509CA103DC6}" type="presOf" srcId="{F9C1881F-A4A6-419C-A9D1-B98D6AF26CFC}" destId="{F44996EC-5699-40DF-98FA-427D1E76B6A9}" srcOrd="0" destOrd="0" presId="urn:microsoft.com/office/officeart/2005/8/layout/list1"/>
    <dgm:cxn modelId="{16CDCBB4-557F-40CB-A96D-302D32B8DB83}" type="presOf" srcId="{437C73A8-DE64-4E9B-91DF-E8D36A68E362}" destId="{808B6AC2-4A00-495F-93D2-74DD84F1C3B1}" srcOrd="0" destOrd="0" presId="urn:microsoft.com/office/officeart/2005/8/layout/list1"/>
    <dgm:cxn modelId="{B1949ABF-1AB4-4610-BF91-FB35DBDCACFF}" type="presOf" srcId="{437C73A8-DE64-4E9B-91DF-E8D36A68E362}" destId="{50851C2B-F34A-4BF3-BADB-E19FF723D9F9}" srcOrd="1" destOrd="0" presId="urn:microsoft.com/office/officeart/2005/8/layout/list1"/>
    <dgm:cxn modelId="{796377D1-F718-4828-BCE1-A90032182991}" srcId="{3803D4AC-A493-4149-8821-777BB106BE74}" destId="{B82B5912-6CF7-4AD1-8C60-F13194FA3518}" srcOrd="3" destOrd="0" parTransId="{9DB23CB3-E4D2-4EF6-8984-BADD46E764E3}" sibTransId="{3036D113-52D3-4904-954A-C942611CAF90}"/>
    <dgm:cxn modelId="{BC0477EF-9553-45E7-823D-6B415A6F071E}" type="presOf" srcId="{9F5FA4B9-9055-46D3-ACA1-2222791E21BA}" destId="{D65B76C5-53F3-4187-93EE-627410658DED}" srcOrd="0" destOrd="0" presId="urn:microsoft.com/office/officeart/2005/8/layout/list1"/>
    <dgm:cxn modelId="{303ED865-3C46-448B-8304-6CD23CACFCD4}" type="presParOf" srcId="{11664CBE-8550-40CC-AE11-C06C2A730C5C}" destId="{CE76267B-4B82-4C3C-A69B-7EC7BE287A87}" srcOrd="0" destOrd="0" presId="urn:microsoft.com/office/officeart/2005/8/layout/list1"/>
    <dgm:cxn modelId="{0956AF58-7FC8-49A1-969F-A67711DDD1B0}" type="presParOf" srcId="{CE76267B-4B82-4C3C-A69B-7EC7BE287A87}" destId="{D65B76C5-53F3-4187-93EE-627410658DED}" srcOrd="0" destOrd="0" presId="urn:microsoft.com/office/officeart/2005/8/layout/list1"/>
    <dgm:cxn modelId="{8590483B-C226-424A-B2DC-334B316BB7AB}" type="presParOf" srcId="{CE76267B-4B82-4C3C-A69B-7EC7BE287A87}" destId="{B6F1DE96-D7A4-4F82-B0B7-15810EE1DEEC}" srcOrd="1" destOrd="0" presId="urn:microsoft.com/office/officeart/2005/8/layout/list1"/>
    <dgm:cxn modelId="{792A4046-B30D-4A8F-9F5C-D7E412DC245E}" type="presParOf" srcId="{11664CBE-8550-40CC-AE11-C06C2A730C5C}" destId="{9F952535-51C9-45E3-8032-92213228977E}" srcOrd="1" destOrd="0" presId="urn:microsoft.com/office/officeart/2005/8/layout/list1"/>
    <dgm:cxn modelId="{8B366388-2CEC-45A2-A134-3D7341E18CBA}" type="presParOf" srcId="{11664CBE-8550-40CC-AE11-C06C2A730C5C}" destId="{E6B7211B-9C81-47DA-8A8F-71B5A0B38752}" srcOrd="2" destOrd="0" presId="urn:microsoft.com/office/officeart/2005/8/layout/list1"/>
    <dgm:cxn modelId="{40DC22E6-C319-4B62-BAA3-909844366366}" type="presParOf" srcId="{11664CBE-8550-40CC-AE11-C06C2A730C5C}" destId="{66B5C6C9-456F-40D4-A0ED-3D5F944B5B17}" srcOrd="3" destOrd="0" presId="urn:microsoft.com/office/officeart/2005/8/layout/list1"/>
    <dgm:cxn modelId="{81F452BA-DCCB-41A3-85C2-E16D5F4D517D}" type="presParOf" srcId="{11664CBE-8550-40CC-AE11-C06C2A730C5C}" destId="{B8F53F3A-1ADE-428C-841E-1BA789FD334C}" srcOrd="4" destOrd="0" presId="urn:microsoft.com/office/officeart/2005/8/layout/list1"/>
    <dgm:cxn modelId="{E13DE961-E5F7-4730-8043-BC10CF142ECD}" type="presParOf" srcId="{B8F53F3A-1ADE-428C-841E-1BA789FD334C}" destId="{F44996EC-5699-40DF-98FA-427D1E76B6A9}" srcOrd="0" destOrd="0" presId="urn:microsoft.com/office/officeart/2005/8/layout/list1"/>
    <dgm:cxn modelId="{709958E9-486D-4DA2-A95E-C20B41F5943B}" type="presParOf" srcId="{B8F53F3A-1ADE-428C-841E-1BA789FD334C}" destId="{3575EAFF-5217-4499-9D0C-F62BE42A68DA}" srcOrd="1" destOrd="0" presId="urn:microsoft.com/office/officeart/2005/8/layout/list1"/>
    <dgm:cxn modelId="{2ECB8E61-B34C-40EE-884A-16BB66699AE4}" type="presParOf" srcId="{11664CBE-8550-40CC-AE11-C06C2A730C5C}" destId="{1B181E42-0062-4ED0-94B3-17F81650F122}" srcOrd="5" destOrd="0" presId="urn:microsoft.com/office/officeart/2005/8/layout/list1"/>
    <dgm:cxn modelId="{AAB1E44D-3D1F-434E-9E46-2C0011E00E93}" type="presParOf" srcId="{11664CBE-8550-40CC-AE11-C06C2A730C5C}" destId="{DA1CC69F-FDD7-4C5B-A1CA-6CB327939AD4}" srcOrd="6" destOrd="0" presId="urn:microsoft.com/office/officeart/2005/8/layout/list1"/>
    <dgm:cxn modelId="{CA983F14-9B63-4234-A51C-C0A28690EEE0}" type="presParOf" srcId="{11664CBE-8550-40CC-AE11-C06C2A730C5C}" destId="{E1E75FDD-87F1-4A57-8FE8-D68C0F619F07}" srcOrd="7" destOrd="0" presId="urn:microsoft.com/office/officeart/2005/8/layout/list1"/>
    <dgm:cxn modelId="{1530348F-5B2E-4523-97C8-60CCD30DC603}" type="presParOf" srcId="{11664CBE-8550-40CC-AE11-C06C2A730C5C}" destId="{B23EB474-50C1-4216-94CE-88A5E72CEAA3}" srcOrd="8" destOrd="0" presId="urn:microsoft.com/office/officeart/2005/8/layout/list1"/>
    <dgm:cxn modelId="{2BCC5F8D-60E7-4F43-BD11-7D141EE73BDD}" type="presParOf" srcId="{B23EB474-50C1-4216-94CE-88A5E72CEAA3}" destId="{808B6AC2-4A00-495F-93D2-74DD84F1C3B1}" srcOrd="0" destOrd="0" presId="urn:microsoft.com/office/officeart/2005/8/layout/list1"/>
    <dgm:cxn modelId="{B11CC44E-F448-4A2F-85A9-9E4F2CB2E8D1}" type="presParOf" srcId="{B23EB474-50C1-4216-94CE-88A5E72CEAA3}" destId="{50851C2B-F34A-4BF3-BADB-E19FF723D9F9}" srcOrd="1" destOrd="0" presId="urn:microsoft.com/office/officeart/2005/8/layout/list1"/>
    <dgm:cxn modelId="{AF0FB251-D4DC-4371-ABF4-B28424460FBF}" type="presParOf" srcId="{11664CBE-8550-40CC-AE11-C06C2A730C5C}" destId="{2D877CF3-7D80-432B-B80E-A6DA79B74E51}" srcOrd="9" destOrd="0" presId="urn:microsoft.com/office/officeart/2005/8/layout/list1"/>
    <dgm:cxn modelId="{1D4F0278-91CE-45B8-BD07-3524D9F4D3CC}" type="presParOf" srcId="{11664CBE-8550-40CC-AE11-C06C2A730C5C}" destId="{8D100372-CF3B-4CEB-9BE5-564E3FF10A56}" srcOrd="10" destOrd="0" presId="urn:microsoft.com/office/officeart/2005/8/layout/list1"/>
    <dgm:cxn modelId="{F01CA20F-731E-4656-8865-998A2F9D13B8}" type="presParOf" srcId="{11664CBE-8550-40CC-AE11-C06C2A730C5C}" destId="{ACE6749F-77E3-49B7-B7B0-E6D9F1A0836C}" srcOrd="11" destOrd="0" presId="urn:microsoft.com/office/officeart/2005/8/layout/list1"/>
    <dgm:cxn modelId="{7F30379C-9B69-4EE7-88DD-469C9DAEF08C}" type="presParOf" srcId="{11664CBE-8550-40CC-AE11-C06C2A730C5C}" destId="{57988A55-F8C0-464D-939E-DAC31289387F}" srcOrd="12" destOrd="0" presId="urn:microsoft.com/office/officeart/2005/8/layout/list1"/>
    <dgm:cxn modelId="{E5A0EDD0-5671-4D4F-B9E4-BBC05968AB36}" type="presParOf" srcId="{57988A55-F8C0-464D-939E-DAC31289387F}" destId="{0CA6BA91-A56E-45AE-8A5D-A323FF62BB2F}" srcOrd="0" destOrd="0" presId="urn:microsoft.com/office/officeart/2005/8/layout/list1"/>
    <dgm:cxn modelId="{37521A57-5858-43C8-85E1-49A1FA15D329}" type="presParOf" srcId="{57988A55-F8C0-464D-939E-DAC31289387F}" destId="{38881922-5274-46CA-BA4F-FF05C4FC818C}" srcOrd="1" destOrd="0" presId="urn:microsoft.com/office/officeart/2005/8/layout/list1"/>
    <dgm:cxn modelId="{104ADDE9-DC8C-40EA-8885-921C8CDEF394}" type="presParOf" srcId="{11664CBE-8550-40CC-AE11-C06C2A730C5C}" destId="{85A75A0C-E9ED-4A0A-99F6-AE35ABD1635D}" srcOrd="13" destOrd="0" presId="urn:microsoft.com/office/officeart/2005/8/layout/list1"/>
    <dgm:cxn modelId="{5DA6F3BC-4B98-4D26-80D0-2959E64E0B0F}" type="presParOf" srcId="{11664CBE-8550-40CC-AE11-C06C2A730C5C}" destId="{C1EB2DD1-CDB4-4C54-A4EE-D072192F9951}" srcOrd="14" destOrd="0" presId="urn:microsoft.com/office/officeart/2005/8/layout/list1"/>
    <dgm:cxn modelId="{0D2367E7-740A-4BBE-9351-28B4AC101EA6}" type="presParOf" srcId="{11664CBE-8550-40CC-AE11-C06C2A730C5C}" destId="{C746E297-A4B5-43A5-9867-9F2E9712B486}" srcOrd="15" destOrd="0" presId="urn:microsoft.com/office/officeart/2005/8/layout/list1"/>
    <dgm:cxn modelId="{3D370AA5-4A87-4A35-9800-CD468F7CB729}" type="presParOf" srcId="{11664CBE-8550-40CC-AE11-C06C2A730C5C}" destId="{25E66240-E150-445D-9CD6-86A2F8EE46B5}" srcOrd="16" destOrd="0" presId="urn:microsoft.com/office/officeart/2005/8/layout/list1"/>
    <dgm:cxn modelId="{9E6E2F78-19CE-4EA4-A41C-F684AEC2D621}" type="presParOf" srcId="{25E66240-E150-445D-9CD6-86A2F8EE46B5}" destId="{18611181-E2B3-4DA0-8C73-1EE004477873}" srcOrd="0" destOrd="0" presId="urn:microsoft.com/office/officeart/2005/8/layout/list1"/>
    <dgm:cxn modelId="{01C397DE-75A0-4C95-A717-F7DD1E589107}" type="presParOf" srcId="{25E66240-E150-445D-9CD6-86A2F8EE46B5}" destId="{F59E13EA-BD1C-48CE-8FC2-D8911030E2B9}" srcOrd="1" destOrd="0" presId="urn:microsoft.com/office/officeart/2005/8/layout/list1"/>
    <dgm:cxn modelId="{2F818FE7-4761-4D9A-A936-4A63105C3782}" type="presParOf" srcId="{11664CBE-8550-40CC-AE11-C06C2A730C5C}" destId="{E0BEE9D6-3EF9-4663-B3BC-063B4F53F3B8}" srcOrd="17" destOrd="0" presId="urn:microsoft.com/office/officeart/2005/8/layout/list1"/>
    <dgm:cxn modelId="{BEEE946B-D9E2-4BD5-B469-28C980EEC5FB}" type="presParOf" srcId="{11664CBE-8550-40CC-AE11-C06C2A730C5C}" destId="{63BA1559-3D14-45EC-85C5-034F0E28CD02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74247F0-4CD4-4E8C-9492-01B4A6FD85C3}" type="doc">
      <dgm:prSet loTypeId="urn:microsoft.com/office/officeart/2005/8/layout/vList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1D7D9A5-9D59-4FE5-8D8C-96E017D72FDE}">
      <dgm:prSet phldrT="[Text]" phldr="0"/>
      <dgm:spPr/>
      <dgm:t>
        <a:bodyPr/>
        <a:lstStyle/>
        <a:p>
          <a:pPr rtl="0"/>
          <a:r>
            <a:rPr lang="en-GB">
              <a:latin typeface="Circular"/>
            </a:rPr>
            <a:t>Online Travel Agencies</a:t>
          </a:r>
          <a:endParaRPr lang="en-GB"/>
        </a:p>
      </dgm:t>
    </dgm:pt>
    <dgm:pt modelId="{A856B878-1B09-4D6F-B0C8-7A235B48D87A}" type="parTrans" cxnId="{7C334011-972F-45BE-BCEB-6EC3848E3FD7}">
      <dgm:prSet/>
      <dgm:spPr/>
      <dgm:t>
        <a:bodyPr/>
        <a:lstStyle/>
        <a:p>
          <a:endParaRPr lang="en-GB"/>
        </a:p>
      </dgm:t>
    </dgm:pt>
    <dgm:pt modelId="{01EF6419-36E9-4F21-8120-CE830C0DF950}" type="sibTrans" cxnId="{7C334011-972F-45BE-BCEB-6EC3848E3FD7}">
      <dgm:prSet/>
      <dgm:spPr/>
      <dgm:t>
        <a:bodyPr/>
        <a:lstStyle/>
        <a:p>
          <a:endParaRPr lang="en-GB"/>
        </a:p>
      </dgm:t>
    </dgm:pt>
    <dgm:pt modelId="{0ECF9A78-CC07-4C3C-B472-85A6B202D103}">
      <dgm:prSet phldrT="[Text]"/>
      <dgm:spPr/>
      <dgm:t>
        <a:bodyPr/>
        <a:lstStyle/>
        <a:p>
          <a:pPr rtl="0"/>
          <a:r>
            <a:rPr lang="en-GB">
              <a:latin typeface="Calibri"/>
              <a:cs typeface="Calibri"/>
            </a:rPr>
            <a:t>Internet search engines</a:t>
          </a:r>
          <a:endParaRPr lang="en-GB"/>
        </a:p>
      </dgm:t>
    </dgm:pt>
    <dgm:pt modelId="{DBF2EFC8-5EAF-41BA-A9BE-F9E8F967E3D9}" type="parTrans" cxnId="{A6E99F54-AE5E-4EBB-AE73-57090EF01069}">
      <dgm:prSet/>
      <dgm:spPr/>
      <dgm:t>
        <a:bodyPr/>
        <a:lstStyle/>
        <a:p>
          <a:endParaRPr lang="en-GB"/>
        </a:p>
      </dgm:t>
    </dgm:pt>
    <dgm:pt modelId="{06C29FF6-43DD-47C7-B00F-B5ED543BB7DF}" type="sibTrans" cxnId="{A6E99F54-AE5E-4EBB-AE73-57090EF01069}">
      <dgm:prSet/>
      <dgm:spPr/>
      <dgm:t>
        <a:bodyPr/>
        <a:lstStyle/>
        <a:p>
          <a:endParaRPr lang="en-GB"/>
        </a:p>
      </dgm:t>
    </dgm:pt>
    <dgm:pt modelId="{2CFA9CC5-1FD0-47F4-BC88-A00D58B99094}">
      <dgm:prSet phldrT="[Text]" phldr="0"/>
      <dgm:spPr/>
      <dgm:t>
        <a:bodyPr/>
        <a:lstStyle/>
        <a:p>
          <a:pPr rtl="0"/>
          <a:r>
            <a:rPr lang="en-GB">
              <a:latin typeface="Calibri"/>
              <a:cs typeface="Calibri"/>
            </a:rPr>
            <a:t>Property management companies</a:t>
          </a:r>
          <a:endParaRPr lang="en-GB"/>
        </a:p>
      </dgm:t>
    </dgm:pt>
    <dgm:pt modelId="{3FC9F6B9-E92D-4EEC-91E4-9311485DF0E8}" type="parTrans" cxnId="{1ADEDB75-7742-4E53-B29F-E01EA5BC835B}">
      <dgm:prSet/>
      <dgm:spPr/>
      <dgm:t>
        <a:bodyPr/>
        <a:lstStyle/>
        <a:p>
          <a:endParaRPr lang="en-GB"/>
        </a:p>
      </dgm:t>
    </dgm:pt>
    <dgm:pt modelId="{3D446439-CCFD-4B56-9934-C89999D3ABFE}" type="sibTrans" cxnId="{1ADEDB75-7742-4E53-B29F-E01EA5BC835B}">
      <dgm:prSet/>
      <dgm:spPr/>
      <dgm:t>
        <a:bodyPr/>
        <a:lstStyle/>
        <a:p>
          <a:endParaRPr lang="en-GB"/>
        </a:p>
      </dgm:t>
    </dgm:pt>
    <dgm:pt modelId="{ECC9156C-C2FE-452A-A3F4-42BFA989739D}">
      <dgm:prSet phldr="0"/>
      <dgm:spPr/>
      <dgm:t>
        <a:bodyPr/>
        <a:lstStyle/>
        <a:p>
          <a:r>
            <a:rPr lang="en-GB"/>
            <a:t>Listing and meta search websites</a:t>
          </a:r>
          <a:endParaRPr lang="en-GB">
            <a:latin typeface="Circular"/>
          </a:endParaRPr>
        </a:p>
      </dgm:t>
    </dgm:pt>
    <dgm:pt modelId="{B6DB7054-D877-4328-96AA-F3DA00B07F03}" type="parTrans" cxnId="{C9F18F34-8568-4978-B181-320C70848349}">
      <dgm:prSet/>
      <dgm:spPr/>
    </dgm:pt>
    <dgm:pt modelId="{398D9076-B6CE-46D5-901D-367C035FF9BF}" type="sibTrans" cxnId="{C9F18F34-8568-4978-B181-320C70848349}">
      <dgm:prSet/>
      <dgm:spPr/>
    </dgm:pt>
    <dgm:pt modelId="{87648012-B73D-4BE7-8E37-4B84BC3489BE}">
      <dgm:prSet phldr="0"/>
      <dgm:spPr/>
      <dgm:t>
        <a:bodyPr/>
        <a:lstStyle/>
        <a:p>
          <a:r>
            <a:rPr lang="en-GB">
              <a:latin typeface="Calibri"/>
              <a:cs typeface="Calibri"/>
            </a:rPr>
            <a:t>Hotels</a:t>
          </a:r>
        </a:p>
      </dgm:t>
    </dgm:pt>
    <dgm:pt modelId="{711B5410-E7D3-406B-B4E8-ABC75FB82B05}" type="parTrans" cxnId="{B524D45F-BC28-467D-90B5-5387329A73E3}">
      <dgm:prSet/>
      <dgm:spPr/>
    </dgm:pt>
    <dgm:pt modelId="{815E660D-4797-42CD-BE37-EEEB53B29A50}" type="sibTrans" cxnId="{B524D45F-BC28-467D-90B5-5387329A73E3}">
      <dgm:prSet/>
      <dgm:spPr/>
    </dgm:pt>
    <dgm:pt modelId="{2BF41799-A4CA-4C82-B2B1-951F020D5D79}" type="pres">
      <dgm:prSet presAssocID="{474247F0-4CD4-4E8C-9492-01B4A6FD85C3}" presName="Name0" presStyleCnt="0">
        <dgm:presLayoutVars>
          <dgm:dir/>
          <dgm:animLvl val="lvl"/>
          <dgm:resizeHandles/>
        </dgm:presLayoutVars>
      </dgm:prSet>
      <dgm:spPr/>
    </dgm:pt>
    <dgm:pt modelId="{4F46C96B-518F-46CA-B773-96513762C76E}" type="pres">
      <dgm:prSet presAssocID="{A1D7D9A5-9D59-4FE5-8D8C-96E017D72FDE}" presName="linNode" presStyleCnt="0"/>
      <dgm:spPr/>
    </dgm:pt>
    <dgm:pt modelId="{DC45AECE-239F-436B-985E-51D15CAE5FC3}" type="pres">
      <dgm:prSet presAssocID="{A1D7D9A5-9D59-4FE5-8D8C-96E017D72FDE}" presName="parentShp" presStyleLbl="node1" presStyleIdx="0" presStyleCnt="5">
        <dgm:presLayoutVars>
          <dgm:bulletEnabled val="1"/>
        </dgm:presLayoutVars>
      </dgm:prSet>
      <dgm:spPr/>
    </dgm:pt>
    <dgm:pt modelId="{262656C0-135A-428A-846E-6045798A9075}" type="pres">
      <dgm:prSet presAssocID="{A1D7D9A5-9D59-4FE5-8D8C-96E017D72FDE}" presName="childShp" presStyleLbl="bgAccFollowNode1" presStyleIdx="0" presStyleCnt="5">
        <dgm:presLayoutVars>
          <dgm:bulletEnabled val="1"/>
        </dgm:presLayoutVars>
      </dgm:prSet>
      <dgm:spPr/>
    </dgm:pt>
    <dgm:pt modelId="{04EE6C38-881F-4B3E-BB84-A594BE697532}" type="pres">
      <dgm:prSet presAssocID="{01EF6419-36E9-4F21-8120-CE830C0DF950}" presName="spacing" presStyleCnt="0"/>
      <dgm:spPr/>
    </dgm:pt>
    <dgm:pt modelId="{BD6BCD77-A6CE-4102-80E0-EA7CA8F93EFD}" type="pres">
      <dgm:prSet presAssocID="{ECC9156C-C2FE-452A-A3F4-42BFA989739D}" presName="linNode" presStyleCnt="0"/>
      <dgm:spPr/>
    </dgm:pt>
    <dgm:pt modelId="{1A8D4AC9-534E-45EC-8FA6-4DB4EB0E82CF}" type="pres">
      <dgm:prSet presAssocID="{ECC9156C-C2FE-452A-A3F4-42BFA989739D}" presName="parentShp" presStyleLbl="node1" presStyleIdx="1" presStyleCnt="5">
        <dgm:presLayoutVars>
          <dgm:bulletEnabled val="1"/>
        </dgm:presLayoutVars>
      </dgm:prSet>
      <dgm:spPr/>
    </dgm:pt>
    <dgm:pt modelId="{232FB04A-3D41-4002-AD36-F036CDB30AB4}" type="pres">
      <dgm:prSet presAssocID="{ECC9156C-C2FE-452A-A3F4-42BFA989739D}" presName="childShp" presStyleLbl="bgAccFollowNode1" presStyleIdx="1" presStyleCnt="5">
        <dgm:presLayoutVars>
          <dgm:bulletEnabled val="1"/>
        </dgm:presLayoutVars>
      </dgm:prSet>
      <dgm:spPr/>
    </dgm:pt>
    <dgm:pt modelId="{7D6D0137-F961-4558-BF56-DF17AC1698B7}" type="pres">
      <dgm:prSet presAssocID="{398D9076-B6CE-46D5-901D-367C035FF9BF}" presName="spacing" presStyleCnt="0"/>
      <dgm:spPr/>
    </dgm:pt>
    <dgm:pt modelId="{712E4798-2BD7-4F26-9972-3960D59BF1DC}" type="pres">
      <dgm:prSet presAssocID="{0ECF9A78-CC07-4C3C-B472-85A6B202D103}" presName="linNode" presStyleCnt="0"/>
      <dgm:spPr/>
    </dgm:pt>
    <dgm:pt modelId="{2E85FC82-30BC-47F9-958E-34EA68C90AAC}" type="pres">
      <dgm:prSet presAssocID="{0ECF9A78-CC07-4C3C-B472-85A6B202D103}" presName="parentShp" presStyleLbl="node1" presStyleIdx="2" presStyleCnt="5">
        <dgm:presLayoutVars>
          <dgm:bulletEnabled val="1"/>
        </dgm:presLayoutVars>
      </dgm:prSet>
      <dgm:spPr/>
    </dgm:pt>
    <dgm:pt modelId="{6FAF9C9B-BFC8-4C22-A4D9-7E8578B41DDD}" type="pres">
      <dgm:prSet presAssocID="{0ECF9A78-CC07-4C3C-B472-85A6B202D103}" presName="childShp" presStyleLbl="bgAccFollowNode1" presStyleIdx="2" presStyleCnt="5">
        <dgm:presLayoutVars>
          <dgm:bulletEnabled val="1"/>
        </dgm:presLayoutVars>
      </dgm:prSet>
      <dgm:spPr/>
    </dgm:pt>
    <dgm:pt modelId="{ED9D069E-11B6-42A0-AE0D-F09A734CC49F}" type="pres">
      <dgm:prSet presAssocID="{06C29FF6-43DD-47C7-B00F-B5ED543BB7DF}" presName="spacing" presStyleCnt="0"/>
      <dgm:spPr/>
    </dgm:pt>
    <dgm:pt modelId="{A559A502-53EB-430D-90A3-1799348759A0}" type="pres">
      <dgm:prSet presAssocID="{2CFA9CC5-1FD0-47F4-BC88-A00D58B99094}" presName="linNode" presStyleCnt="0"/>
      <dgm:spPr/>
    </dgm:pt>
    <dgm:pt modelId="{5E0AEB85-0543-4631-8BE3-B4CDD84A3112}" type="pres">
      <dgm:prSet presAssocID="{2CFA9CC5-1FD0-47F4-BC88-A00D58B99094}" presName="parentShp" presStyleLbl="node1" presStyleIdx="3" presStyleCnt="5">
        <dgm:presLayoutVars>
          <dgm:bulletEnabled val="1"/>
        </dgm:presLayoutVars>
      </dgm:prSet>
      <dgm:spPr/>
    </dgm:pt>
    <dgm:pt modelId="{7D07C72C-F5F9-41FA-90FF-6B606A4B921D}" type="pres">
      <dgm:prSet presAssocID="{2CFA9CC5-1FD0-47F4-BC88-A00D58B99094}" presName="childShp" presStyleLbl="bgAccFollowNode1" presStyleIdx="3" presStyleCnt="5">
        <dgm:presLayoutVars>
          <dgm:bulletEnabled val="1"/>
        </dgm:presLayoutVars>
      </dgm:prSet>
      <dgm:spPr/>
    </dgm:pt>
    <dgm:pt modelId="{6F7CC006-19E9-4BC1-90FC-35E5B5AEE362}" type="pres">
      <dgm:prSet presAssocID="{3D446439-CCFD-4B56-9934-C89999D3ABFE}" presName="spacing" presStyleCnt="0"/>
      <dgm:spPr/>
    </dgm:pt>
    <dgm:pt modelId="{B470EA8D-7FCD-419A-9B6F-A4C78DBB66FA}" type="pres">
      <dgm:prSet presAssocID="{87648012-B73D-4BE7-8E37-4B84BC3489BE}" presName="linNode" presStyleCnt="0"/>
      <dgm:spPr/>
    </dgm:pt>
    <dgm:pt modelId="{4C4D8A3C-3C31-44A9-A78C-A371662CE6C4}" type="pres">
      <dgm:prSet presAssocID="{87648012-B73D-4BE7-8E37-4B84BC3489BE}" presName="parentShp" presStyleLbl="node1" presStyleIdx="4" presStyleCnt="5">
        <dgm:presLayoutVars>
          <dgm:bulletEnabled val="1"/>
        </dgm:presLayoutVars>
      </dgm:prSet>
      <dgm:spPr/>
    </dgm:pt>
    <dgm:pt modelId="{D0BC7949-87BF-4A0B-8E28-44630E3F4EBB}" type="pres">
      <dgm:prSet presAssocID="{87648012-B73D-4BE7-8E37-4B84BC3489BE}" presName="childShp" presStyleLbl="bgAccFollowNode1" presStyleIdx="4" presStyleCnt="5">
        <dgm:presLayoutVars>
          <dgm:bulletEnabled val="1"/>
        </dgm:presLayoutVars>
      </dgm:prSet>
      <dgm:spPr/>
    </dgm:pt>
  </dgm:ptLst>
  <dgm:cxnLst>
    <dgm:cxn modelId="{7C334011-972F-45BE-BCEB-6EC3848E3FD7}" srcId="{474247F0-4CD4-4E8C-9492-01B4A6FD85C3}" destId="{A1D7D9A5-9D59-4FE5-8D8C-96E017D72FDE}" srcOrd="0" destOrd="0" parTransId="{A856B878-1B09-4D6F-B0C8-7A235B48D87A}" sibTransId="{01EF6419-36E9-4F21-8120-CE830C0DF950}"/>
    <dgm:cxn modelId="{C9F18F34-8568-4978-B181-320C70848349}" srcId="{474247F0-4CD4-4E8C-9492-01B4A6FD85C3}" destId="{ECC9156C-C2FE-452A-A3F4-42BFA989739D}" srcOrd="1" destOrd="0" parTransId="{B6DB7054-D877-4328-96AA-F3DA00B07F03}" sibTransId="{398D9076-B6CE-46D5-901D-367C035FF9BF}"/>
    <dgm:cxn modelId="{4CEE283E-4659-46BF-9124-996C5C1FC829}" type="presOf" srcId="{87648012-B73D-4BE7-8E37-4B84BC3489BE}" destId="{4C4D8A3C-3C31-44A9-A78C-A371662CE6C4}" srcOrd="0" destOrd="0" presId="urn:microsoft.com/office/officeart/2005/8/layout/vList6"/>
    <dgm:cxn modelId="{7ADF445C-B0CA-4E02-86DF-2B8C9917C78F}" type="presOf" srcId="{ECC9156C-C2FE-452A-A3F4-42BFA989739D}" destId="{1A8D4AC9-534E-45EC-8FA6-4DB4EB0E82CF}" srcOrd="0" destOrd="0" presId="urn:microsoft.com/office/officeart/2005/8/layout/vList6"/>
    <dgm:cxn modelId="{B524D45F-BC28-467D-90B5-5387329A73E3}" srcId="{474247F0-4CD4-4E8C-9492-01B4A6FD85C3}" destId="{87648012-B73D-4BE7-8E37-4B84BC3489BE}" srcOrd="4" destOrd="0" parTransId="{711B5410-E7D3-406B-B4E8-ABC75FB82B05}" sibTransId="{815E660D-4797-42CD-BE37-EEEB53B29A50}"/>
    <dgm:cxn modelId="{A6E99F54-AE5E-4EBB-AE73-57090EF01069}" srcId="{474247F0-4CD4-4E8C-9492-01B4A6FD85C3}" destId="{0ECF9A78-CC07-4C3C-B472-85A6B202D103}" srcOrd="2" destOrd="0" parTransId="{DBF2EFC8-5EAF-41BA-A9BE-F9E8F967E3D9}" sibTransId="{06C29FF6-43DD-47C7-B00F-B5ED543BB7DF}"/>
    <dgm:cxn modelId="{1ADEDB75-7742-4E53-B29F-E01EA5BC835B}" srcId="{474247F0-4CD4-4E8C-9492-01B4A6FD85C3}" destId="{2CFA9CC5-1FD0-47F4-BC88-A00D58B99094}" srcOrd="3" destOrd="0" parTransId="{3FC9F6B9-E92D-4EEC-91E4-9311485DF0E8}" sibTransId="{3D446439-CCFD-4B56-9934-C89999D3ABFE}"/>
    <dgm:cxn modelId="{5EF03988-203D-45A9-A060-92B616C9375F}" type="presOf" srcId="{2CFA9CC5-1FD0-47F4-BC88-A00D58B99094}" destId="{5E0AEB85-0543-4631-8BE3-B4CDD84A3112}" srcOrd="0" destOrd="0" presId="urn:microsoft.com/office/officeart/2005/8/layout/vList6"/>
    <dgm:cxn modelId="{A086D9C3-7F6B-47E6-BC1D-94640046BEAB}" type="presOf" srcId="{0ECF9A78-CC07-4C3C-B472-85A6B202D103}" destId="{2E85FC82-30BC-47F9-958E-34EA68C90AAC}" srcOrd="0" destOrd="0" presId="urn:microsoft.com/office/officeart/2005/8/layout/vList6"/>
    <dgm:cxn modelId="{3BFBFBD2-F329-4CF2-819D-BCA5D1A63990}" type="presOf" srcId="{A1D7D9A5-9D59-4FE5-8D8C-96E017D72FDE}" destId="{DC45AECE-239F-436B-985E-51D15CAE5FC3}" srcOrd="0" destOrd="0" presId="urn:microsoft.com/office/officeart/2005/8/layout/vList6"/>
    <dgm:cxn modelId="{4CC67BDF-754A-4D32-B9FF-94CB6ECD63B5}" type="presOf" srcId="{474247F0-4CD4-4E8C-9492-01B4A6FD85C3}" destId="{2BF41799-A4CA-4C82-B2B1-951F020D5D79}" srcOrd="0" destOrd="0" presId="urn:microsoft.com/office/officeart/2005/8/layout/vList6"/>
    <dgm:cxn modelId="{82B05EFA-8F56-462C-80E0-DA29C06F507C}" type="presParOf" srcId="{2BF41799-A4CA-4C82-B2B1-951F020D5D79}" destId="{4F46C96B-518F-46CA-B773-96513762C76E}" srcOrd="0" destOrd="0" presId="urn:microsoft.com/office/officeart/2005/8/layout/vList6"/>
    <dgm:cxn modelId="{D17A641F-7D9E-4F4F-B80F-3769BB19387C}" type="presParOf" srcId="{4F46C96B-518F-46CA-B773-96513762C76E}" destId="{DC45AECE-239F-436B-985E-51D15CAE5FC3}" srcOrd="0" destOrd="0" presId="urn:microsoft.com/office/officeart/2005/8/layout/vList6"/>
    <dgm:cxn modelId="{9155A1F8-165E-458C-BA1B-20BD45E68E08}" type="presParOf" srcId="{4F46C96B-518F-46CA-B773-96513762C76E}" destId="{262656C0-135A-428A-846E-6045798A9075}" srcOrd="1" destOrd="0" presId="urn:microsoft.com/office/officeart/2005/8/layout/vList6"/>
    <dgm:cxn modelId="{1AE9DAFA-D1EF-4498-AF33-FFFED763761A}" type="presParOf" srcId="{2BF41799-A4CA-4C82-B2B1-951F020D5D79}" destId="{04EE6C38-881F-4B3E-BB84-A594BE697532}" srcOrd="1" destOrd="0" presId="urn:microsoft.com/office/officeart/2005/8/layout/vList6"/>
    <dgm:cxn modelId="{AC4BDEC9-39D9-4749-BBFD-D63CEC7461D7}" type="presParOf" srcId="{2BF41799-A4CA-4C82-B2B1-951F020D5D79}" destId="{BD6BCD77-A6CE-4102-80E0-EA7CA8F93EFD}" srcOrd="2" destOrd="0" presId="urn:microsoft.com/office/officeart/2005/8/layout/vList6"/>
    <dgm:cxn modelId="{5A9F5A15-A97D-4488-9938-47C0FD926BAA}" type="presParOf" srcId="{BD6BCD77-A6CE-4102-80E0-EA7CA8F93EFD}" destId="{1A8D4AC9-534E-45EC-8FA6-4DB4EB0E82CF}" srcOrd="0" destOrd="0" presId="urn:microsoft.com/office/officeart/2005/8/layout/vList6"/>
    <dgm:cxn modelId="{859695D3-7596-4CB5-A4FB-8AC01012E875}" type="presParOf" srcId="{BD6BCD77-A6CE-4102-80E0-EA7CA8F93EFD}" destId="{232FB04A-3D41-4002-AD36-F036CDB30AB4}" srcOrd="1" destOrd="0" presId="urn:microsoft.com/office/officeart/2005/8/layout/vList6"/>
    <dgm:cxn modelId="{11BE0368-39A7-48FD-8CD0-5F608D0DEEB6}" type="presParOf" srcId="{2BF41799-A4CA-4C82-B2B1-951F020D5D79}" destId="{7D6D0137-F961-4558-BF56-DF17AC1698B7}" srcOrd="3" destOrd="0" presId="urn:microsoft.com/office/officeart/2005/8/layout/vList6"/>
    <dgm:cxn modelId="{252A15DE-AC46-4D37-9344-18859441ABD6}" type="presParOf" srcId="{2BF41799-A4CA-4C82-B2B1-951F020D5D79}" destId="{712E4798-2BD7-4F26-9972-3960D59BF1DC}" srcOrd="4" destOrd="0" presId="urn:microsoft.com/office/officeart/2005/8/layout/vList6"/>
    <dgm:cxn modelId="{F5BFBBCD-301B-4A58-A41D-6B77095F7CF0}" type="presParOf" srcId="{712E4798-2BD7-4F26-9972-3960D59BF1DC}" destId="{2E85FC82-30BC-47F9-958E-34EA68C90AAC}" srcOrd="0" destOrd="0" presId="urn:microsoft.com/office/officeart/2005/8/layout/vList6"/>
    <dgm:cxn modelId="{2DE568C1-33A9-416F-8709-4FB4C0942C21}" type="presParOf" srcId="{712E4798-2BD7-4F26-9972-3960D59BF1DC}" destId="{6FAF9C9B-BFC8-4C22-A4D9-7E8578B41DDD}" srcOrd="1" destOrd="0" presId="urn:microsoft.com/office/officeart/2005/8/layout/vList6"/>
    <dgm:cxn modelId="{FB807AA1-03FA-47C8-9C5D-52456E9F86FD}" type="presParOf" srcId="{2BF41799-A4CA-4C82-B2B1-951F020D5D79}" destId="{ED9D069E-11B6-42A0-AE0D-F09A734CC49F}" srcOrd="5" destOrd="0" presId="urn:microsoft.com/office/officeart/2005/8/layout/vList6"/>
    <dgm:cxn modelId="{0F3D7712-04B9-4F39-A646-EAA2F09C2A9F}" type="presParOf" srcId="{2BF41799-A4CA-4C82-B2B1-951F020D5D79}" destId="{A559A502-53EB-430D-90A3-1799348759A0}" srcOrd="6" destOrd="0" presId="urn:microsoft.com/office/officeart/2005/8/layout/vList6"/>
    <dgm:cxn modelId="{BFF518BE-22E8-4969-9EFD-6AF5518BB1A2}" type="presParOf" srcId="{A559A502-53EB-430D-90A3-1799348759A0}" destId="{5E0AEB85-0543-4631-8BE3-B4CDD84A3112}" srcOrd="0" destOrd="0" presId="urn:microsoft.com/office/officeart/2005/8/layout/vList6"/>
    <dgm:cxn modelId="{35603F42-5771-4FA6-AA90-D79B94DDA03E}" type="presParOf" srcId="{A559A502-53EB-430D-90A3-1799348759A0}" destId="{7D07C72C-F5F9-41FA-90FF-6B606A4B921D}" srcOrd="1" destOrd="0" presId="urn:microsoft.com/office/officeart/2005/8/layout/vList6"/>
    <dgm:cxn modelId="{861C39D0-0DF7-49B1-B9EF-2D5471BA764B}" type="presParOf" srcId="{2BF41799-A4CA-4C82-B2B1-951F020D5D79}" destId="{6F7CC006-19E9-4BC1-90FC-35E5B5AEE362}" srcOrd="7" destOrd="0" presId="urn:microsoft.com/office/officeart/2005/8/layout/vList6"/>
    <dgm:cxn modelId="{8195D13E-5858-4C89-8FD8-BF73A5C91431}" type="presParOf" srcId="{2BF41799-A4CA-4C82-B2B1-951F020D5D79}" destId="{B470EA8D-7FCD-419A-9B6F-A4C78DBB66FA}" srcOrd="8" destOrd="0" presId="urn:microsoft.com/office/officeart/2005/8/layout/vList6"/>
    <dgm:cxn modelId="{6D46B14D-A34C-4C62-8796-F495AC52F0C5}" type="presParOf" srcId="{B470EA8D-7FCD-419A-9B6F-A4C78DBB66FA}" destId="{4C4D8A3C-3C31-44A9-A78C-A371662CE6C4}" srcOrd="0" destOrd="0" presId="urn:microsoft.com/office/officeart/2005/8/layout/vList6"/>
    <dgm:cxn modelId="{7CE53032-93F5-4564-BD2D-D56ECAA67A38}" type="presParOf" srcId="{B470EA8D-7FCD-419A-9B6F-A4C78DBB66FA}" destId="{D0BC7949-87BF-4A0B-8E28-44630E3F4EBB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B7211B-9C81-47DA-8A8F-71B5A0B38752}">
      <dsp:nvSpPr>
        <dsp:cNvPr id="0" name=""/>
        <dsp:cNvSpPr/>
      </dsp:nvSpPr>
      <dsp:spPr>
        <a:xfrm>
          <a:off x="0" y="1983066"/>
          <a:ext cx="7029681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F1DE96-D7A4-4F82-B0B7-15810EE1DEEC}">
      <dsp:nvSpPr>
        <dsp:cNvPr id="0" name=""/>
        <dsp:cNvSpPr/>
      </dsp:nvSpPr>
      <dsp:spPr>
        <a:xfrm>
          <a:off x="351484" y="1717386"/>
          <a:ext cx="4920776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5994" tIns="0" rIns="185994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solidFill>
                <a:schemeClr val="bg1"/>
              </a:solidFill>
            </a:rPr>
            <a:t>Challenging established hotel chains</a:t>
          </a:r>
          <a:endParaRPr lang="en-US" sz="1800" kern="1200"/>
        </a:p>
      </dsp:txBody>
      <dsp:txXfrm>
        <a:off x="377423" y="1743325"/>
        <a:ext cx="4868898" cy="479482"/>
      </dsp:txXfrm>
    </dsp:sp>
    <dsp:sp modelId="{DA1CC69F-FDD7-4C5B-A1CA-6CB327939AD4}">
      <dsp:nvSpPr>
        <dsp:cNvPr id="0" name=""/>
        <dsp:cNvSpPr/>
      </dsp:nvSpPr>
      <dsp:spPr>
        <a:xfrm>
          <a:off x="0" y="2799546"/>
          <a:ext cx="7029681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75EAFF-5217-4499-9D0C-F62BE42A68DA}">
      <dsp:nvSpPr>
        <dsp:cNvPr id="0" name=""/>
        <dsp:cNvSpPr/>
      </dsp:nvSpPr>
      <dsp:spPr>
        <a:xfrm>
          <a:off x="351484" y="2533866"/>
          <a:ext cx="4920776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5994" tIns="0" rIns="185994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solidFill>
                <a:schemeClr val="bg1"/>
              </a:solidFill>
            </a:rPr>
            <a:t>Disrupted the value chain by disintermediation</a:t>
          </a:r>
          <a:endParaRPr lang="en-US" sz="1800" kern="1200"/>
        </a:p>
      </dsp:txBody>
      <dsp:txXfrm>
        <a:off x="377423" y="2559805"/>
        <a:ext cx="4868898" cy="479482"/>
      </dsp:txXfrm>
    </dsp:sp>
    <dsp:sp modelId="{8D100372-CF3B-4CEB-9BE5-564E3FF10A56}">
      <dsp:nvSpPr>
        <dsp:cNvPr id="0" name=""/>
        <dsp:cNvSpPr/>
      </dsp:nvSpPr>
      <dsp:spPr>
        <a:xfrm>
          <a:off x="0" y="3616027"/>
          <a:ext cx="7029681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851C2B-F34A-4BF3-BADB-E19FF723D9F9}">
      <dsp:nvSpPr>
        <dsp:cNvPr id="0" name=""/>
        <dsp:cNvSpPr/>
      </dsp:nvSpPr>
      <dsp:spPr>
        <a:xfrm>
          <a:off x="351484" y="3350347"/>
          <a:ext cx="4920776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5994" tIns="0" rIns="185994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solidFill>
                <a:schemeClr val="bg1"/>
              </a:solidFill>
            </a:rPr>
            <a:t>Diversified offerings</a:t>
          </a:r>
          <a:endParaRPr lang="en-US" sz="1800" b="1" kern="1200">
            <a:latin typeface="Circular"/>
          </a:endParaRPr>
        </a:p>
      </dsp:txBody>
      <dsp:txXfrm>
        <a:off x="377423" y="3376286"/>
        <a:ext cx="4868898" cy="479482"/>
      </dsp:txXfrm>
    </dsp:sp>
    <dsp:sp modelId="{C1EB2DD1-CDB4-4C54-A4EE-D072192F9951}">
      <dsp:nvSpPr>
        <dsp:cNvPr id="0" name=""/>
        <dsp:cNvSpPr/>
      </dsp:nvSpPr>
      <dsp:spPr>
        <a:xfrm>
          <a:off x="0" y="4432507"/>
          <a:ext cx="7029681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881922-5274-46CA-BA4F-FF05C4FC818C}">
      <dsp:nvSpPr>
        <dsp:cNvPr id="0" name=""/>
        <dsp:cNvSpPr/>
      </dsp:nvSpPr>
      <dsp:spPr>
        <a:xfrm>
          <a:off x="351484" y="4166827"/>
          <a:ext cx="4920776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5994" tIns="0" rIns="185994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solidFill>
                <a:schemeClr val="bg1"/>
              </a:solidFill>
            </a:rPr>
            <a:t>Disruption of travel behavior</a:t>
          </a:r>
          <a:endParaRPr lang="en-US" sz="1800" b="1" kern="1200">
            <a:latin typeface="Circular"/>
          </a:endParaRPr>
        </a:p>
      </dsp:txBody>
      <dsp:txXfrm>
        <a:off x="377423" y="4192766"/>
        <a:ext cx="4868898" cy="479482"/>
      </dsp:txXfrm>
    </dsp:sp>
    <dsp:sp modelId="{63BA1559-3D14-45EC-85C5-034F0E28CD02}">
      <dsp:nvSpPr>
        <dsp:cNvPr id="0" name=""/>
        <dsp:cNvSpPr/>
      </dsp:nvSpPr>
      <dsp:spPr>
        <a:xfrm>
          <a:off x="0" y="5248987"/>
          <a:ext cx="7029681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9E13EA-BD1C-48CE-8FC2-D8911030E2B9}">
      <dsp:nvSpPr>
        <dsp:cNvPr id="0" name=""/>
        <dsp:cNvSpPr/>
      </dsp:nvSpPr>
      <dsp:spPr>
        <a:xfrm>
          <a:off x="351484" y="4983307"/>
          <a:ext cx="4920776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5994" tIns="0" rIns="185994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solidFill>
                <a:srgbClr val="FFFFFF"/>
              </a:solidFill>
            </a:rPr>
            <a:t>Instant bookings</a:t>
          </a:r>
          <a:endParaRPr lang="en-US" sz="1800" b="1" kern="1200">
            <a:latin typeface="Circular"/>
          </a:endParaRPr>
        </a:p>
      </dsp:txBody>
      <dsp:txXfrm>
        <a:off x="377423" y="5009246"/>
        <a:ext cx="4868898" cy="4794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2656C0-135A-428A-846E-6045798A9075}">
      <dsp:nvSpPr>
        <dsp:cNvPr id="0" name=""/>
        <dsp:cNvSpPr/>
      </dsp:nvSpPr>
      <dsp:spPr>
        <a:xfrm>
          <a:off x="1040933" y="1366"/>
          <a:ext cx="1561400" cy="7400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45AECE-239F-436B-985E-51D15CAE5FC3}">
      <dsp:nvSpPr>
        <dsp:cNvPr id="0" name=""/>
        <dsp:cNvSpPr/>
      </dsp:nvSpPr>
      <dsp:spPr>
        <a:xfrm>
          <a:off x="0" y="1366"/>
          <a:ext cx="1040933" cy="74006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latin typeface="Circular"/>
            </a:rPr>
            <a:t>Online Travel Agencies</a:t>
          </a:r>
          <a:endParaRPr lang="en-GB" sz="1200" kern="1200"/>
        </a:p>
      </dsp:txBody>
      <dsp:txXfrm>
        <a:off x="36127" y="37493"/>
        <a:ext cx="968679" cy="667814"/>
      </dsp:txXfrm>
    </dsp:sp>
    <dsp:sp modelId="{232FB04A-3D41-4002-AD36-F036CDB30AB4}">
      <dsp:nvSpPr>
        <dsp:cNvPr id="0" name=""/>
        <dsp:cNvSpPr/>
      </dsp:nvSpPr>
      <dsp:spPr>
        <a:xfrm>
          <a:off x="1040933" y="815441"/>
          <a:ext cx="1561400" cy="7400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8D4AC9-534E-45EC-8FA6-4DB4EB0E82CF}">
      <dsp:nvSpPr>
        <dsp:cNvPr id="0" name=""/>
        <dsp:cNvSpPr/>
      </dsp:nvSpPr>
      <dsp:spPr>
        <a:xfrm>
          <a:off x="0" y="815441"/>
          <a:ext cx="1040933" cy="74006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/>
            <a:t>Listing and meta search websites</a:t>
          </a:r>
          <a:endParaRPr lang="en-GB" sz="1200" kern="1200">
            <a:latin typeface="Circular"/>
          </a:endParaRPr>
        </a:p>
      </dsp:txBody>
      <dsp:txXfrm>
        <a:off x="36127" y="851568"/>
        <a:ext cx="968679" cy="667814"/>
      </dsp:txXfrm>
    </dsp:sp>
    <dsp:sp modelId="{6FAF9C9B-BFC8-4C22-A4D9-7E8578B41DDD}">
      <dsp:nvSpPr>
        <dsp:cNvPr id="0" name=""/>
        <dsp:cNvSpPr/>
      </dsp:nvSpPr>
      <dsp:spPr>
        <a:xfrm>
          <a:off x="1040933" y="1629516"/>
          <a:ext cx="1561400" cy="7400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85FC82-30BC-47F9-958E-34EA68C90AAC}">
      <dsp:nvSpPr>
        <dsp:cNvPr id="0" name=""/>
        <dsp:cNvSpPr/>
      </dsp:nvSpPr>
      <dsp:spPr>
        <a:xfrm>
          <a:off x="0" y="1629516"/>
          <a:ext cx="1040933" cy="74006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latin typeface="Calibri"/>
              <a:cs typeface="Calibri"/>
            </a:rPr>
            <a:t>Internet search engines</a:t>
          </a:r>
          <a:endParaRPr lang="en-GB" sz="1200" kern="1200"/>
        </a:p>
      </dsp:txBody>
      <dsp:txXfrm>
        <a:off x="36127" y="1665643"/>
        <a:ext cx="968679" cy="667814"/>
      </dsp:txXfrm>
    </dsp:sp>
    <dsp:sp modelId="{7D07C72C-F5F9-41FA-90FF-6B606A4B921D}">
      <dsp:nvSpPr>
        <dsp:cNvPr id="0" name=""/>
        <dsp:cNvSpPr/>
      </dsp:nvSpPr>
      <dsp:spPr>
        <a:xfrm>
          <a:off x="1040933" y="2443591"/>
          <a:ext cx="1561400" cy="7400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0AEB85-0543-4631-8BE3-B4CDD84A3112}">
      <dsp:nvSpPr>
        <dsp:cNvPr id="0" name=""/>
        <dsp:cNvSpPr/>
      </dsp:nvSpPr>
      <dsp:spPr>
        <a:xfrm>
          <a:off x="0" y="2443591"/>
          <a:ext cx="1040933" cy="74006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latin typeface="Calibri"/>
              <a:cs typeface="Calibri"/>
            </a:rPr>
            <a:t>Property management companies</a:t>
          </a:r>
          <a:endParaRPr lang="en-GB" sz="1200" kern="1200"/>
        </a:p>
      </dsp:txBody>
      <dsp:txXfrm>
        <a:off x="36127" y="2479718"/>
        <a:ext cx="968679" cy="667814"/>
      </dsp:txXfrm>
    </dsp:sp>
    <dsp:sp modelId="{D0BC7949-87BF-4A0B-8E28-44630E3F4EBB}">
      <dsp:nvSpPr>
        <dsp:cNvPr id="0" name=""/>
        <dsp:cNvSpPr/>
      </dsp:nvSpPr>
      <dsp:spPr>
        <a:xfrm>
          <a:off x="1040933" y="3257666"/>
          <a:ext cx="1561400" cy="7400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4D8A3C-3C31-44A9-A78C-A371662CE6C4}">
      <dsp:nvSpPr>
        <dsp:cNvPr id="0" name=""/>
        <dsp:cNvSpPr/>
      </dsp:nvSpPr>
      <dsp:spPr>
        <a:xfrm>
          <a:off x="0" y="3257666"/>
          <a:ext cx="1040933" cy="74006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latin typeface="Calibri"/>
              <a:cs typeface="Calibri"/>
            </a:rPr>
            <a:t>Hotels</a:t>
          </a:r>
        </a:p>
      </dsp:txBody>
      <dsp:txXfrm>
        <a:off x="36127" y="3293793"/>
        <a:ext cx="968679" cy="6678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A49AE-D7DC-4737-93F5-74C2ED3734B0}" type="datetimeFigureOut">
              <a:rPr lang="en-US" smtClean="0"/>
              <a:t>7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99878E-0105-45E9-981F-D7BFB4053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482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098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387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134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8806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99878E-0105-45E9-981F-D7BFB405316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938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27882-DF53-4178-99FE-9AEB4021C27F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5469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466D4-F270-415D-8CE5-A4C79A7C895A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08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252D4966-95B9-4A55-BCA4-9EB442EFF0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6" y="264226"/>
            <a:ext cx="661342" cy="731264"/>
          </a:xfrm>
          <a:prstGeom prst="rect">
            <a:avLst/>
          </a:prstGeom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4E445D-FE3D-42A6-A29E-1A54FEE2DE1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740748" y="2179960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467121 w 1709871"/>
              <a:gd name="connsiteY1" fmla="*/ 0 h 1832397"/>
              <a:gd name="connsiteX2" fmla="*/ 1709871 w 1709871"/>
              <a:gd name="connsiteY2" fmla="*/ 242750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467121" y="0"/>
                </a:lnTo>
                <a:cubicBezTo>
                  <a:pt x="1601188" y="0"/>
                  <a:pt x="1709871" y="108683"/>
                  <a:pt x="1709871" y="242750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1200"/>
            </a:lvl1pPr>
          </a:lstStyle>
          <a:p>
            <a:pPr lvl="0"/>
            <a:endParaRPr lang="en-ID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CACFBC2-531D-434F-AA3F-1EA7A6F61BA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4995" y="2179960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496154 w 1709871"/>
              <a:gd name="connsiteY1" fmla="*/ 0 h 1832397"/>
              <a:gd name="connsiteX2" fmla="*/ 1709871 w 1709871"/>
              <a:gd name="connsiteY2" fmla="*/ 213717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496154" y="0"/>
                </a:lnTo>
                <a:cubicBezTo>
                  <a:pt x="1614187" y="0"/>
                  <a:pt x="1709871" y="95684"/>
                  <a:pt x="1709871" y="213717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1200"/>
            </a:lvl1pPr>
          </a:lstStyle>
          <a:p>
            <a:pPr lvl="0"/>
            <a:endParaRPr lang="en-ID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ACDC1F2-4150-4E13-96EE-8FCD3DC565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449241" y="2179960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525171 w 1709871"/>
              <a:gd name="connsiteY1" fmla="*/ 0 h 1832397"/>
              <a:gd name="connsiteX2" fmla="*/ 1709871 w 1709871"/>
              <a:gd name="connsiteY2" fmla="*/ 184700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525171" y="0"/>
                </a:lnTo>
                <a:cubicBezTo>
                  <a:pt x="1627178" y="0"/>
                  <a:pt x="1709871" y="82693"/>
                  <a:pt x="1709871" y="184700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1200"/>
            </a:lvl1pPr>
          </a:lstStyle>
          <a:p>
            <a:pPr lvl="0"/>
            <a:endParaRPr lang="en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F69AF0C-D3DA-4B08-BCDC-BB9B6720BA52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37641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9D0BF1-6376-446A-A7D6-6C8C9B55CDFD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71787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29FC14D0-4D2C-4224-A507-FC0042C006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804431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C2CF1DE-83F5-44A5-9D33-A92EEBA95D7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22686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A7961A-F68D-4A13-B157-6D5978D2BAC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18053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A6E48BF-2A94-47FD-A03C-0A8CA18626E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26803" y="2045255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F7D235-E3FA-4618-946B-E67A90033B43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4398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45D49BE-CDB2-4926-80C5-C3A48E929F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08158" y="2496911"/>
            <a:ext cx="1137426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C20E53A-AD85-4653-A7F7-6D925DF3A7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0002" y="2496911"/>
            <a:ext cx="1137426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0365C77-F18C-4ED1-BF64-13295CE24D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51845" y="2496911"/>
            <a:ext cx="1137426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D17715-D1E7-4BDC-A9C7-82DCC5727F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14038" y="-2"/>
            <a:ext cx="3367314" cy="4818744"/>
          </a:xfrm>
          <a:custGeom>
            <a:avLst/>
            <a:gdLst>
              <a:gd name="connsiteX0" fmla="*/ 0 w 3367314"/>
              <a:gd name="connsiteY0" fmla="*/ 0 h 4818744"/>
              <a:gd name="connsiteX1" fmla="*/ 3367314 w 3367314"/>
              <a:gd name="connsiteY1" fmla="*/ 0 h 4818744"/>
              <a:gd name="connsiteX2" fmla="*/ 3367314 w 3367314"/>
              <a:gd name="connsiteY2" fmla="*/ 4818744 h 4818744"/>
              <a:gd name="connsiteX3" fmla="*/ 462602 w 3367314"/>
              <a:gd name="connsiteY3" fmla="*/ 4818744 h 4818744"/>
              <a:gd name="connsiteX4" fmla="*/ 0 w 3367314"/>
              <a:gd name="connsiteY4" fmla="*/ 4356142 h 481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7314" h="4818744">
                <a:moveTo>
                  <a:pt x="0" y="0"/>
                </a:moveTo>
                <a:lnTo>
                  <a:pt x="3367314" y="0"/>
                </a:lnTo>
                <a:lnTo>
                  <a:pt x="3367314" y="4818744"/>
                </a:lnTo>
                <a:lnTo>
                  <a:pt x="462602" y="4818744"/>
                </a:lnTo>
                <a:cubicBezTo>
                  <a:pt x="207114" y="4818744"/>
                  <a:pt x="0" y="4611630"/>
                  <a:pt x="0" y="4356142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8F065B1-6091-4AEC-BD00-8B0E0B0158E5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4401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CAD32D0-A73D-4CE7-AA2F-300B9A868FB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0686" y="1841611"/>
            <a:ext cx="10290629" cy="4319931"/>
          </a:xfrm>
          <a:custGeom>
            <a:avLst/>
            <a:gdLst>
              <a:gd name="connsiteX0" fmla="*/ 210811 w 10290629"/>
              <a:gd name="connsiteY0" fmla="*/ 0 h 4752270"/>
              <a:gd name="connsiteX1" fmla="*/ 10079818 w 10290629"/>
              <a:gd name="connsiteY1" fmla="*/ 0 h 4752270"/>
              <a:gd name="connsiteX2" fmla="*/ 10290629 w 10290629"/>
              <a:gd name="connsiteY2" fmla="*/ 210811 h 4752270"/>
              <a:gd name="connsiteX3" fmla="*/ 10290629 w 10290629"/>
              <a:gd name="connsiteY3" fmla="*/ 4541459 h 4752270"/>
              <a:gd name="connsiteX4" fmla="*/ 10079818 w 10290629"/>
              <a:gd name="connsiteY4" fmla="*/ 4752270 h 4752270"/>
              <a:gd name="connsiteX5" fmla="*/ 210811 w 10290629"/>
              <a:gd name="connsiteY5" fmla="*/ 4752270 h 4752270"/>
              <a:gd name="connsiteX6" fmla="*/ 0 w 10290629"/>
              <a:gd name="connsiteY6" fmla="*/ 4541459 h 4752270"/>
              <a:gd name="connsiteX7" fmla="*/ 0 w 10290629"/>
              <a:gd name="connsiteY7" fmla="*/ 210811 h 4752270"/>
              <a:gd name="connsiteX8" fmla="*/ 210811 w 10290629"/>
              <a:gd name="connsiteY8" fmla="*/ 0 h 4752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90629" h="4752270">
                <a:moveTo>
                  <a:pt x="210811" y="0"/>
                </a:moveTo>
                <a:lnTo>
                  <a:pt x="10079818" y="0"/>
                </a:lnTo>
                <a:cubicBezTo>
                  <a:pt x="10196246" y="0"/>
                  <a:pt x="10290629" y="94383"/>
                  <a:pt x="10290629" y="210811"/>
                </a:cubicBezTo>
                <a:lnTo>
                  <a:pt x="10290629" y="4541459"/>
                </a:lnTo>
                <a:cubicBezTo>
                  <a:pt x="10290629" y="4657887"/>
                  <a:pt x="10196246" y="4752270"/>
                  <a:pt x="10079818" y="4752270"/>
                </a:cubicBezTo>
                <a:lnTo>
                  <a:pt x="210811" y="4752270"/>
                </a:lnTo>
                <a:cubicBezTo>
                  <a:pt x="94383" y="4752270"/>
                  <a:pt x="0" y="4657887"/>
                  <a:pt x="0" y="4541459"/>
                </a:cubicBezTo>
                <a:lnTo>
                  <a:pt x="0" y="210811"/>
                </a:lnTo>
                <a:cubicBezTo>
                  <a:pt x="0" y="94383"/>
                  <a:pt x="94383" y="0"/>
                  <a:pt x="21081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CBD41B1-871C-475F-B448-0686C38A4830}" type="datetime1">
              <a:rPr lang="en-US" smtClean="0"/>
              <a:t>7/8/2023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8127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E4508-01FE-4D47-BD11-C7896F224A93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61777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7807C-A118-4931-84AD-B910F23AE66F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82326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49F9B-2A2A-46D0-9F2E-9A91E67F9294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8358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E6422-21CC-4051-ACC3-4C8974EBDEE9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50742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C37AD-FC75-47EE-A9B0-CBBA53889D60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3932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6" y="264226"/>
            <a:ext cx="661342" cy="73126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DA0247D-9E67-4E15-8FC2-7380BEED71A9}"/>
              </a:ext>
            </a:extLst>
          </p:cNvPr>
          <p:cNvSpPr txBox="1"/>
          <p:nvPr userDrawn="1"/>
        </p:nvSpPr>
        <p:spPr>
          <a:xfrm>
            <a:off x="11030271" y="6285997"/>
            <a:ext cx="768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>
                <a:solidFill>
                  <a:schemeClr val="bg1">
                    <a:lumMod val="65000"/>
                  </a:schemeClr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rPr>
              <a:t>PAGE</a:t>
            </a:r>
            <a:endParaRPr lang="id-ID" sz="1400" b="0">
              <a:solidFill>
                <a:schemeClr val="bg1">
                  <a:lumMod val="65000"/>
                </a:schemeClr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65799E-9D2F-41F0-9E11-FFFB6699FACF}"/>
              </a:ext>
            </a:extLst>
          </p:cNvPr>
          <p:cNvSpPr txBox="1"/>
          <p:nvPr userDrawn="1"/>
        </p:nvSpPr>
        <p:spPr>
          <a:xfrm>
            <a:off x="11064483" y="6285997"/>
            <a:ext cx="8001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2CF0B6E-1CBE-4EAA-94C9-13AF12CE91F9}" type="slidenum">
              <a:rPr lang="en-US" sz="1400" b="1" i="0" smtClean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Krub" panose="00000500000000000000" pitchFamily="2" charset="-34"/>
              </a:rPr>
              <a:t>‹#›</a:t>
            </a:fld>
            <a:endParaRPr lang="id-ID" sz="1400" b="1" i="0">
              <a:solidFill>
                <a:schemeClr val="accent1"/>
              </a:solidFill>
              <a:latin typeface="+mn-lt"/>
              <a:ea typeface="Open Sans" panose="020B0606030504020204" pitchFamily="34" charset="0"/>
              <a:cs typeface="Krub" panose="00000500000000000000" pitchFamily="2" charset="-34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1ECD894-CCD7-47A2-B5FC-C2496EAA20CB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66C7D4-36D2-4FF1-8D40-B7B4F97FE736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66360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AC27875-0423-45D9-AAEF-3E169D0B77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4516850"/>
            <a:ext cx="12192000" cy="234115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4347B63-0B3C-4632-BEDB-785F618881AF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9165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9FB12C4-DD62-4ABC-B905-77282CC465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3260" y="1656660"/>
            <a:ext cx="3804047" cy="4686216"/>
          </a:xfrm>
          <a:custGeom>
            <a:avLst/>
            <a:gdLst>
              <a:gd name="connsiteX0" fmla="*/ 199294 w 3804047"/>
              <a:gd name="connsiteY0" fmla="*/ 0 h 4686216"/>
              <a:gd name="connsiteX1" fmla="*/ 3604753 w 3804047"/>
              <a:gd name="connsiteY1" fmla="*/ 0 h 4686216"/>
              <a:gd name="connsiteX2" fmla="*/ 3804047 w 3804047"/>
              <a:gd name="connsiteY2" fmla="*/ 199294 h 4686216"/>
              <a:gd name="connsiteX3" fmla="*/ 3804047 w 3804047"/>
              <a:gd name="connsiteY3" fmla="*/ 4486922 h 4686216"/>
              <a:gd name="connsiteX4" fmla="*/ 3604753 w 3804047"/>
              <a:gd name="connsiteY4" fmla="*/ 4686216 h 4686216"/>
              <a:gd name="connsiteX5" fmla="*/ 199294 w 3804047"/>
              <a:gd name="connsiteY5" fmla="*/ 4686216 h 4686216"/>
              <a:gd name="connsiteX6" fmla="*/ 0 w 3804047"/>
              <a:gd name="connsiteY6" fmla="*/ 4486922 h 4686216"/>
              <a:gd name="connsiteX7" fmla="*/ 0 w 3804047"/>
              <a:gd name="connsiteY7" fmla="*/ 199294 h 4686216"/>
              <a:gd name="connsiteX8" fmla="*/ 199294 w 3804047"/>
              <a:gd name="connsiteY8" fmla="*/ 0 h 468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4047" h="4686216">
                <a:moveTo>
                  <a:pt x="199294" y="0"/>
                </a:moveTo>
                <a:lnTo>
                  <a:pt x="3604753" y="0"/>
                </a:lnTo>
                <a:cubicBezTo>
                  <a:pt x="3714820" y="0"/>
                  <a:pt x="3804047" y="89227"/>
                  <a:pt x="3804047" y="199294"/>
                </a:cubicBezTo>
                <a:lnTo>
                  <a:pt x="3804047" y="4486922"/>
                </a:lnTo>
                <a:cubicBezTo>
                  <a:pt x="3804047" y="4596989"/>
                  <a:pt x="3714820" y="4686216"/>
                  <a:pt x="3604753" y="4686216"/>
                </a:cubicBezTo>
                <a:lnTo>
                  <a:pt x="199294" y="4686216"/>
                </a:lnTo>
                <a:cubicBezTo>
                  <a:pt x="89227" y="4686216"/>
                  <a:pt x="0" y="4596989"/>
                  <a:pt x="0" y="4486922"/>
                </a:cubicBezTo>
                <a:lnTo>
                  <a:pt x="0" y="199294"/>
                </a:lnTo>
                <a:cubicBezTo>
                  <a:pt x="0" y="89227"/>
                  <a:pt x="89227" y="0"/>
                  <a:pt x="19929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FAFE4DC-77C5-44AC-B50D-8ED4A2F02617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3267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67CB54E-6139-4EAC-9F6F-AEDE8775F8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97D37F5-4B9F-446E-B467-809FE2BC94CA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9426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0EB58-EF7E-435A-8B07-B5BCF3AF1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E24B5-652C-4DB5-B7C3-B5BBEC1280B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F76098-6FA1-470A-BEF4-E4B0AC75E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F57DE0-C032-4FCC-9006-09C2C328A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CD216-73DE-4B96-8E1B-BB64D86142BB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C776CB-2819-4488-9012-A6EA22079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15EEB49-54F4-404C-9B31-AD488BFCB2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72412" y="2219248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6B2DD458-866A-421E-9AD0-B0D9E119572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05572" y="2196083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57A4D097-9603-42DC-888D-8039CE6ADC9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7240" y="2019165"/>
            <a:ext cx="3017520" cy="3017520"/>
          </a:xfrm>
          <a:prstGeom prst="ellipse">
            <a:avLst/>
          </a:prstGeo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B9B9E0BA-35AD-4D69-9A03-35F2509C2C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612900" y="5033963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B1CC61B3-695C-423D-8F0B-45674DC932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45831" y="5236700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870F23E-35A1-4942-A685-641AA883066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78762" y="5033963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63B8202-88BB-4ED4-B936-9D9C0B4C8D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8264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27882-DF53-4178-99FE-9AEB4021C27F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5469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C37AD-FC75-47EE-A9B0-CBBA53889D60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3932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67F1B-8397-4CA0-BDC1-F24A511A27C5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1849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6E43C-B1FC-452D-9B5E-AD3A526CC6EE}" type="datetime1">
              <a:rPr lang="en-US" smtClean="0"/>
              <a:t>7/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68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D4FCB-EC8D-4D74-B35E-675AB4A0A815}" type="datetime1">
              <a:rPr lang="en-US" smtClean="0"/>
              <a:t>7/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265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67F1B-8397-4CA0-BDC1-F24A511A27C5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1849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51DBE2-5A55-47A7-A7D2-3E92E031603A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2167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CE8D4-D570-4289-A9A5-061D11D38195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6815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99AF3-8A33-42F6-9F22-44CCD2E48EF8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1438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77F9A-1623-4279-865D-3386593A110C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2667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466D4-F270-415D-8CE5-A4C79A7C895A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081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252D4966-95B9-4A55-BCA4-9EB442EFF0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6" y="264226"/>
            <a:ext cx="661342" cy="731264"/>
          </a:xfrm>
          <a:prstGeom prst="rect">
            <a:avLst/>
          </a:prstGeom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4E445D-FE3D-42A6-A29E-1A54FEE2DE1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740748" y="2179960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467121 w 1709871"/>
              <a:gd name="connsiteY1" fmla="*/ 0 h 1832397"/>
              <a:gd name="connsiteX2" fmla="*/ 1709871 w 1709871"/>
              <a:gd name="connsiteY2" fmla="*/ 242750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467121" y="0"/>
                </a:lnTo>
                <a:cubicBezTo>
                  <a:pt x="1601188" y="0"/>
                  <a:pt x="1709871" y="108683"/>
                  <a:pt x="1709871" y="242750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1200"/>
            </a:lvl1pPr>
          </a:lstStyle>
          <a:p>
            <a:pPr lvl="0"/>
            <a:endParaRPr lang="en-ID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CACFBC2-531D-434F-AA3F-1EA7A6F61BA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4995" y="2179960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496154 w 1709871"/>
              <a:gd name="connsiteY1" fmla="*/ 0 h 1832397"/>
              <a:gd name="connsiteX2" fmla="*/ 1709871 w 1709871"/>
              <a:gd name="connsiteY2" fmla="*/ 213717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496154" y="0"/>
                </a:lnTo>
                <a:cubicBezTo>
                  <a:pt x="1614187" y="0"/>
                  <a:pt x="1709871" y="95684"/>
                  <a:pt x="1709871" y="213717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1200"/>
            </a:lvl1pPr>
          </a:lstStyle>
          <a:p>
            <a:pPr lvl="0"/>
            <a:endParaRPr lang="en-ID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ACDC1F2-4150-4E13-96EE-8FCD3DC565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449241" y="2179960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525171 w 1709871"/>
              <a:gd name="connsiteY1" fmla="*/ 0 h 1832397"/>
              <a:gd name="connsiteX2" fmla="*/ 1709871 w 1709871"/>
              <a:gd name="connsiteY2" fmla="*/ 184700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525171" y="0"/>
                </a:lnTo>
                <a:cubicBezTo>
                  <a:pt x="1627178" y="0"/>
                  <a:pt x="1709871" y="82693"/>
                  <a:pt x="1709871" y="184700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1200"/>
            </a:lvl1pPr>
          </a:lstStyle>
          <a:p>
            <a:pPr lvl="0"/>
            <a:endParaRPr lang="en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F69AF0C-D3DA-4B08-BCDC-BB9B6720BA52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37641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9D0BF1-6376-446A-A7D6-6C8C9B55CDFD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71787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29FC14D0-4D2C-4224-A507-FC0042C006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804431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C2CF1DE-83F5-44A5-9D33-A92EEBA95D7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22686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A7961A-F68D-4A13-B157-6D5978D2BAC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18053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A6E48BF-2A94-47FD-A03C-0A8CA18626E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26803" y="2045255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F7D235-E3FA-4618-946B-E67A90033B43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4398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45D49BE-CDB2-4926-80C5-C3A48E929F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08158" y="2496911"/>
            <a:ext cx="1137426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C20E53A-AD85-4653-A7F7-6D925DF3A7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0002" y="2496911"/>
            <a:ext cx="1137426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0365C77-F18C-4ED1-BF64-13295CE24D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51845" y="2496911"/>
            <a:ext cx="1137426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D17715-D1E7-4BDC-A9C7-82DCC5727F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14038" y="-2"/>
            <a:ext cx="3367314" cy="4818744"/>
          </a:xfrm>
          <a:custGeom>
            <a:avLst/>
            <a:gdLst>
              <a:gd name="connsiteX0" fmla="*/ 0 w 3367314"/>
              <a:gd name="connsiteY0" fmla="*/ 0 h 4818744"/>
              <a:gd name="connsiteX1" fmla="*/ 3367314 w 3367314"/>
              <a:gd name="connsiteY1" fmla="*/ 0 h 4818744"/>
              <a:gd name="connsiteX2" fmla="*/ 3367314 w 3367314"/>
              <a:gd name="connsiteY2" fmla="*/ 4818744 h 4818744"/>
              <a:gd name="connsiteX3" fmla="*/ 462602 w 3367314"/>
              <a:gd name="connsiteY3" fmla="*/ 4818744 h 4818744"/>
              <a:gd name="connsiteX4" fmla="*/ 0 w 3367314"/>
              <a:gd name="connsiteY4" fmla="*/ 4356142 h 481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7314" h="4818744">
                <a:moveTo>
                  <a:pt x="0" y="0"/>
                </a:moveTo>
                <a:lnTo>
                  <a:pt x="3367314" y="0"/>
                </a:lnTo>
                <a:lnTo>
                  <a:pt x="3367314" y="4818744"/>
                </a:lnTo>
                <a:lnTo>
                  <a:pt x="462602" y="4818744"/>
                </a:lnTo>
                <a:cubicBezTo>
                  <a:pt x="207114" y="4818744"/>
                  <a:pt x="0" y="4611630"/>
                  <a:pt x="0" y="4356142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8F065B1-6091-4AEC-BD00-8B0E0B0158E5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4401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CAD32D0-A73D-4CE7-AA2F-300B9A868FB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0686" y="1841611"/>
            <a:ext cx="10290629" cy="4319931"/>
          </a:xfrm>
          <a:custGeom>
            <a:avLst/>
            <a:gdLst>
              <a:gd name="connsiteX0" fmla="*/ 210811 w 10290629"/>
              <a:gd name="connsiteY0" fmla="*/ 0 h 4752270"/>
              <a:gd name="connsiteX1" fmla="*/ 10079818 w 10290629"/>
              <a:gd name="connsiteY1" fmla="*/ 0 h 4752270"/>
              <a:gd name="connsiteX2" fmla="*/ 10290629 w 10290629"/>
              <a:gd name="connsiteY2" fmla="*/ 210811 h 4752270"/>
              <a:gd name="connsiteX3" fmla="*/ 10290629 w 10290629"/>
              <a:gd name="connsiteY3" fmla="*/ 4541459 h 4752270"/>
              <a:gd name="connsiteX4" fmla="*/ 10079818 w 10290629"/>
              <a:gd name="connsiteY4" fmla="*/ 4752270 h 4752270"/>
              <a:gd name="connsiteX5" fmla="*/ 210811 w 10290629"/>
              <a:gd name="connsiteY5" fmla="*/ 4752270 h 4752270"/>
              <a:gd name="connsiteX6" fmla="*/ 0 w 10290629"/>
              <a:gd name="connsiteY6" fmla="*/ 4541459 h 4752270"/>
              <a:gd name="connsiteX7" fmla="*/ 0 w 10290629"/>
              <a:gd name="connsiteY7" fmla="*/ 210811 h 4752270"/>
              <a:gd name="connsiteX8" fmla="*/ 210811 w 10290629"/>
              <a:gd name="connsiteY8" fmla="*/ 0 h 4752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90629" h="4752270">
                <a:moveTo>
                  <a:pt x="210811" y="0"/>
                </a:moveTo>
                <a:lnTo>
                  <a:pt x="10079818" y="0"/>
                </a:lnTo>
                <a:cubicBezTo>
                  <a:pt x="10196246" y="0"/>
                  <a:pt x="10290629" y="94383"/>
                  <a:pt x="10290629" y="210811"/>
                </a:cubicBezTo>
                <a:lnTo>
                  <a:pt x="10290629" y="4541459"/>
                </a:lnTo>
                <a:cubicBezTo>
                  <a:pt x="10290629" y="4657887"/>
                  <a:pt x="10196246" y="4752270"/>
                  <a:pt x="10079818" y="4752270"/>
                </a:cubicBezTo>
                <a:lnTo>
                  <a:pt x="210811" y="4752270"/>
                </a:lnTo>
                <a:cubicBezTo>
                  <a:pt x="94383" y="4752270"/>
                  <a:pt x="0" y="4657887"/>
                  <a:pt x="0" y="4541459"/>
                </a:cubicBezTo>
                <a:lnTo>
                  <a:pt x="0" y="210811"/>
                </a:lnTo>
                <a:cubicBezTo>
                  <a:pt x="0" y="94383"/>
                  <a:pt x="94383" y="0"/>
                  <a:pt x="21081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CBD41B1-871C-475F-B448-0686C38A4830}" type="datetime1">
              <a:rPr lang="en-US" smtClean="0"/>
              <a:t>7/8/2023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8127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6E43C-B1FC-452D-9B5E-AD3A526CC6EE}" type="datetime1">
              <a:rPr lang="en-US" smtClean="0"/>
              <a:t>7/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680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E4508-01FE-4D47-BD11-C7896F224A93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61777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7807C-A118-4931-84AD-B910F23AE66F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82326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49F9B-2A2A-46D0-9F2E-9A91E67F9294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8358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E6422-21CC-4051-ACC3-4C8974EBDEE9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50742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6" y="264226"/>
            <a:ext cx="661342" cy="73126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DA0247D-9E67-4E15-8FC2-7380BEED71A9}"/>
              </a:ext>
            </a:extLst>
          </p:cNvPr>
          <p:cNvSpPr txBox="1"/>
          <p:nvPr userDrawn="1"/>
        </p:nvSpPr>
        <p:spPr>
          <a:xfrm>
            <a:off x="11030271" y="6285997"/>
            <a:ext cx="768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>
                <a:solidFill>
                  <a:schemeClr val="bg1">
                    <a:lumMod val="65000"/>
                  </a:schemeClr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rPr>
              <a:t>PAGE</a:t>
            </a:r>
            <a:endParaRPr lang="id-ID" sz="1400" b="0">
              <a:solidFill>
                <a:schemeClr val="bg1">
                  <a:lumMod val="65000"/>
                </a:schemeClr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65799E-9D2F-41F0-9E11-FFFB6699FACF}"/>
              </a:ext>
            </a:extLst>
          </p:cNvPr>
          <p:cNvSpPr txBox="1"/>
          <p:nvPr userDrawn="1"/>
        </p:nvSpPr>
        <p:spPr>
          <a:xfrm>
            <a:off x="11064483" y="6285997"/>
            <a:ext cx="8001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2CF0B6E-1CBE-4EAA-94C9-13AF12CE91F9}" type="slidenum">
              <a:rPr lang="en-US" sz="1400" b="1" i="0" smtClean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Krub" panose="00000500000000000000" pitchFamily="2" charset="-34"/>
              </a:rPr>
              <a:t>‹#›</a:t>
            </a:fld>
            <a:endParaRPr lang="id-ID" sz="1400" b="1" i="0">
              <a:solidFill>
                <a:schemeClr val="accent1"/>
              </a:solidFill>
              <a:latin typeface="+mn-lt"/>
              <a:ea typeface="Open Sans" panose="020B0606030504020204" pitchFamily="34" charset="0"/>
              <a:cs typeface="Krub" panose="00000500000000000000" pitchFamily="2" charset="-34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1ECD894-CCD7-47A2-B5FC-C2496EAA20CB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66C7D4-36D2-4FF1-8D40-B7B4F97FE736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66360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AC27875-0423-45D9-AAEF-3E169D0B77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4516850"/>
            <a:ext cx="12192000" cy="234115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4347B63-0B3C-4632-BEDB-785F618881AF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9165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9FB12C4-DD62-4ABC-B905-77282CC465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3260" y="1656660"/>
            <a:ext cx="3804047" cy="4686216"/>
          </a:xfrm>
          <a:custGeom>
            <a:avLst/>
            <a:gdLst>
              <a:gd name="connsiteX0" fmla="*/ 199294 w 3804047"/>
              <a:gd name="connsiteY0" fmla="*/ 0 h 4686216"/>
              <a:gd name="connsiteX1" fmla="*/ 3604753 w 3804047"/>
              <a:gd name="connsiteY1" fmla="*/ 0 h 4686216"/>
              <a:gd name="connsiteX2" fmla="*/ 3804047 w 3804047"/>
              <a:gd name="connsiteY2" fmla="*/ 199294 h 4686216"/>
              <a:gd name="connsiteX3" fmla="*/ 3804047 w 3804047"/>
              <a:gd name="connsiteY3" fmla="*/ 4486922 h 4686216"/>
              <a:gd name="connsiteX4" fmla="*/ 3604753 w 3804047"/>
              <a:gd name="connsiteY4" fmla="*/ 4686216 h 4686216"/>
              <a:gd name="connsiteX5" fmla="*/ 199294 w 3804047"/>
              <a:gd name="connsiteY5" fmla="*/ 4686216 h 4686216"/>
              <a:gd name="connsiteX6" fmla="*/ 0 w 3804047"/>
              <a:gd name="connsiteY6" fmla="*/ 4486922 h 4686216"/>
              <a:gd name="connsiteX7" fmla="*/ 0 w 3804047"/>
              <a:gd name="connsiteY7" fmla="*/ 199294 h 4686216"/>
              <a:gd name="connsiteX8" fmla="*/ 199294 w 3804047"/>
              <a:gd name="connsiteY8" fmla="*/ 0 h 468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4047" h="4686216">
                <a:moveTo>
                  <a:pt x="199294" y="0"/>
                </a:moveTo>
                <a:lnTo>
                  <a:pt x="3604753" y="0"/>
                </a:lnTo>
                <a:cubicBezTo>
                  <a:pt x="3714820" y="0"/>
                  <a:pt x="3804047" y="89227"/>
                  <a:pt x="3804047" y="199294"/>
                </a:cubicBezTo>
                <a:lnTo>
                  <a:pt x="3804047" y="4486922"/>
                </a:lnTo>
                <a:cubicBezTo>
                  <a:pt x="3804047" y="4596989"/>
                  <a:pt x="3714820" y="4686216"/>
                  <a:pt x="3604753" y="4686216"/>
                </a:cubicBezTo>
                <a:lnTo>
                  <a:pt x="199294" y="4686216"/>
                </a:lnTo>
                <a:cubicBezTo>
                  <a:pt x="89227" y="4686216"/>
                  <a:pt x="0" y="4596989"/>
                  <a:pt x="0" y="4486922"/>
                </a:cubicBezTo>
                <a:lnTo>
                  <a:pt x="0" y="199294"/>
                </a:lnTo>
                <a:cubicBezTo>
                  <a:pt x="0" y="89227"/>
                  <a:pt x="89227" y="0"/>
                  <a:pt x="19929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FAFE4DC-77C5-44AC-B50D-8ED4A2F02617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3267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67CB54E-6139-4EAC-9F6F-AEDE8775F8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97D37F5-4B9F-446E-B467-809FE2BC94CA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9426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0EB58-EF7E-435A-8B07-B5BCF3AF1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E24B5-652C-4DB5-B7C3-B5BBEC1280B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F76098-6FA1-470A-BEF4-E4B0AC75E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F57DE0-C032-4FCC-9006-09C2C328A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CD216-73DE-4B96-8E1B-BB64D86142BB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C776CB-2819-4488-9012-A6EA22079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15EEB49-54F4-404C-9B31-AD488BFCB2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72412" y="2219248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6B2DD458-866A-421E-9AD0-B0D9E119572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05572" y="2196083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57A4D097-9603-42DC-888D-8039CE6ADC9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7240" y="2019165"/>
            <a:ext cx="3017520" cy="3017520"/>
          </a:xfrm>
          <a:prstGeom prst="ellipse">
            <a:avLst/>
          </a:prstGeo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B9B9E0BA-35AD-4D69-9A03-35F2509C2C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612900" y="5033963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B1CC61B3-695C-423D-8F0B-45674DC932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45831" y="5236700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870F23E-35A1-4942-A685-641AA883066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78762" y="5033963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63B8202-88BB-4ED4-B936-9D9C0B4C8D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8264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27882-DF53-4178-99FE-9AEB4021C27F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648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D4FCB-EC8D-4D74-B35E-675AB4A0A815}" type="datetime1">
              <a:rPr lang="en-US" smtClean="0"/>
              <a:t>7/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2659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C37AD-FC75-47EE-A9B0-CBBA53889D60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7116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67F1B-8397-4CA0-BDC1-F24A511A27C5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4309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6E43C-B1FC-452D-9B5E-AD3A526CC6EE}" type="datetime1">
              <a:rPr lang="en-US" smtClean="0"/>
              <a:t>7/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9719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D4FCB-EC8D-4D74-B35E-675AB4A0A815}" type="datetime1">
              <a:rPr lang="en-US" smtClean="0"/>
              <a:t>7/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82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51DBE2-5A55-47A7-A7D2-3E92E031603A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2422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CE8D4-D570-4289-A9A5-061D11D38195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0471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99AF3-8A33-42F6-9F22-44CCD2E48EF8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1163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77F9A-1623-4279-865D-3386593A110C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5985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466D4-F270-415D-8CE5-A4C79A7C895A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7933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252D4966-95B9-4A55-BCA4-9EB442EFF0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8" y="264226"/>
            <a:ext cx="661343" cy="731264"/>
          </a:xfrm>
          <a:prstGeom prst="rect">
            <a:avLst/>
          </a:prstGeom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</p:spPr>
        <p:txBody>
          <a:bodyPr vert="horz" wrap="square" lIns="68580" tIns="34290" rIns="68580" bIns="34290" rtlCol="0">
            <a:noAutofit/>
          </a:bodyPr>
          <a:lstStyle/>
          <a:p>
            <a:pPr marL="171450" lvl="0" indent="-17145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8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4E445D-FE3D-42A6-A29E-1A54FEE2DE1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740751" y="2179964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467121 w 1709871"/>
              <a:gd name="connsiteY1" fmla="*/ 0 h 1832397"/>
              <a:gd name="connsiteX2" fmla="*/ 1709871 w 1709871"/>
              <a:gd name="connsiteY2" fmla="*/ 242750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467121" y="0"/>
                </a:lnTo>
                <a:cubicBezTo>
                  <a:pt x="1601188" y="0"/>
                  <a:pt x="1709871" y="108683"/>
                  <a:pt x="1709871" y="242750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900"/>
            </a:lvl1pPr>
          </a:lstStyle>
          <a:p>
            <a:pPr lvl="0"/>
            <a:endParaRPr lang="en-ID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CACFBC2-531D-434F-AA3F-1EA7A6F61BA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4998" y="2179964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496154 w 1709871"/>
              <a:gd name="connsiteY1" fmla="*/ 0 h 1832397"/>
              <a:gd name="connsiteX2" fmla="*/ 1709871 w 1709871"/>
              <a:gd name="connsiteY2" fmla="*/ 213717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496154" y="0"/>
                </a:lnTo>
                <a:cubicBezTo>
                  <a:pt x="1614187" y="0"/>
                  <a:pt x="1709871" y="95684"/>
                  <a:pt x="1709871" y="213717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900"/>
            </a:lvl1pPr>
          </a:lstStyle>
          <a:p>
            <a:pPr lvl="0"/>
            <a:endParaRPr lang="en-ID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ACDC1F2-4150-4E13-96EE-8FCD3DC565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449243" y="2179964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525171 w 1709871"/>
              <a:gd name="connsiteY1" fmla="*/ 0 h 1832397"/>
              <a:gd name="connsiteX2" fmla="*/ 1709871 w 1709871"/>
              <a:gd name="connsiteY2" fmla="*/ 184700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525171" y="0"/>
                </a:lnTo>
                <a:cubicBezTo>
                  <a:pt x="1627178" y="0"/>
                  <a:pt x="1709871" y="82693"/>
                  <a:pt x="1709871" y="184700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900"/>
            </a:lvl1pPr>
          </a:lstStyle>
          <a:p>
            <a:pPr lvl="0"/>
            <a:endParaRPr lang="en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F69AF0C-D3DA-4B08-BCDC-BB9B6720BA52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501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51DBE2-5A55-47A7-A7D2-3E92E031603A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2167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9D0BF1-6376-446A-A7D6-6C8C9B55CDFD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0193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29FC14D0-4D2C-4224-A507-FC0042C006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804431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C2CF1DE-83F5-44A5-9D33-A92EEBA95D7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22687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A7961A-F68D-4A13-B157-6D5978D2BAC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18055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A6E48BF-2A94-47FD-A03C-0A8CA18626E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26803" y="2045255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8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F7D235-E3FA-4618-946B-E67A90033B43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2188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45D49BE-CDB2-4926-80C5-C3A48E929F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08157" y="2496911"/>
            <a:ext cx="1137427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C20E53A-AD85-4653-A7F7-6D925DF3A7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0001" y="2496911"/>
            <a:ext cx="1137427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0365C77-F18C-4ED1-BF64-13295CE24D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51845" y="2496911"/>
            <a:ext cx="1137427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D17715-D1E7-4BDC-A9C7-82DCC5727F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14037" y="-2"/>
            <a:ext cx="3367315" cy="4818744"/>
          </a:xfrm>
          <a:custGeom>
            <a:avLst/>
            <a:gdLst>
              <a:gd name="connsiteX0" fmla="*/ 0 w 3367314"/>
              <a:gd name="connsiteY0" fmla="*/ 0 h 4818744"/>
              <a:gd name="connsiteX1" fmla="*/ 3367314 w 3367314"/>
              <a:gd name="connsiteY1" fmla="*/ 0 h 4818744"/>
              <a:gd name="connsiteX2" fmla="*/ 3367314 w 3367314"/>
              <a:gd name="connsiteY2" fmla="*/ 4818744 h 4818744"/>
              <a:gd name="connsiteX3" fmla="*/ 462602 w 3367314"/>
              <a:gd name="connsiteY3" fmla="*/ 4818744 h 4818744"/>
              <a:gd name="connsiteX4" fmla="*/ 0 w 3367314"/>
              <a:gd name="connsiteY4" fmla="*/ 4356142 h 481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7314" h="4818744">
                <a:moveTo>
                  <a:pt x="0" y="0"/>
                </a:moveTo>
                <a:lnTo>
                  <a:pt x="3367314" y="0"/>
                </a:lnTo>
                <a:lnTo>
                  <a:pt x="3367314" y="4818744"/>
                </a:lnTo>
                <a:lnTo>
                  <a:pt x="462602" y="4818744"/>
                </a:lnTo>
                <a:cubicBezTo>
                  <a:pt x="207114" y="4818744"/>
                  <a:pt x="0" y="4611630"/>
                  <a:pt x="0" y="4356142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8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8F065B1-6091-4AEC-BD00-8B0E0B0158E5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14335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CAD32D0-A73D-4CE7-AA2F-300B9A868FB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0688" y="1841613"/>
            <a:ext cx="10290629" cy="4319931"/>
          </a:xfrm>
          <a:custGeom>
            <a:avLst/>
            <a:gdLst>
              <a:gd name="connsiteX0" fmla="*/ 210811 w 10290629"/>
              <a:gd name="connsiteY0" fmla="*/ 0 h 4752270"/>
              <a:gd name="connsiteX1" fmla="*/ 10079818 w 10290629"/>
              <a:gd name="connsiteY1" fmla="*/ 0 h 4752270"/>
              <a:gd name="connsiteX2" fmla="*/ 10290629 w 10290629"/>
              <a:gd name="connsiteY2" fmla="*/ 210811 h 4752270"/>
              <a:gd name="connsiteX3" fmla="*/ 10290629 w 10290629"/>
              <a:gd name="connsiteY3" fmla="*/ 4541459 h 4752270"/>
              <a:gd name="connsiteX4" fmla="*/ 10079818 w 10290629"/>
              <a:gd name="connsiteY4" fmla="*/ 4752270 h 4752270"/>
              <a:gd name="connsiteX5" fmla="*/ 210811 w 10290629"/>
              <a:gd name="connsiteY5" fmla="*/ 4752270 h 4752270"/>
              <a:gd name="connsiteX6" fmla="*/ 0 w 10290629"/>
              <a:gd name="connsiteY6" fmla="*/ 4541459 h 4752270"/>
              <a:gd name="connsiteX7" fmla="*/ 0 w 10290629"/>
              <a:gd name="connsiteY7" fmla="*/ 210811 h 4752270"/>
              <a:gd name="connsiteX8" fmla="*/ 210811 w 10290629"/>
              <a:gd name="connsiteY8" fmla="*/ 0 h 4752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90629" h="4752270">
                <a:moveTo>
                  <a:pt x="210811" y="0"/>
                </a:moveTo>
                <a:lnTo>
                  <a:pt x="10079818" y="0"/>
                </a:lnTo>
                <a:cubicBezTo>
                  <a:pt x="10196246" y="0"/>
                  <a:pt x="10290629" y="94383"/>
                  <a:pt x="10290629" y="210811"/>
                </a:cubicBezTo>
                <a:lnTo>
                  <a:pt x="10290629" y="4541459"/>
                </a:lnTo>
                <a:cubicBezTo>
                  <a:pt x="10290629" y="4657887"/>
                  <a:pt x="10196246" y="4752270"/>
                  <a:pt x="10079818" y="4752270"/>
                </a:cubicBezTo>
                <a:lnTo>
                  <a:pt x="210811" y="4752270"/>
                </a:lnTo>
                <a:cubicBezTo>
                  <a:pt x="94383" y="4752270"/>
                  <a:pt x="0" y="4657887"/>
                  <a:pt x="0" y="4541459"/>
                </a:cubicBezTo>
                <a:lnTo>
                  <a:pt x="0" y="210811"/>
                </a:lnTo>
                <a:cubicBezTo>
                  <a:pt x="0" y="94383"/>
                  <a:pt x="94383" y="0"/>
                  <a:pt x="21081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8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CBD41B1-871C-475F-B448-0686C38A4830}" type="datetime1">
              <a:rPr lang="en-US" smtClean="0"/>
              <a:t>7/8/2023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3706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E4508-01FE-4D47-BD11-C7896F224A93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25037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7807C-A118-4931-84AD-B910F23AE66F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47586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49F9B-2A2A-46D0-9F2E-9A91E67F9294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309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E6422-21CC-4051-ACC3-4C8974EBDEE9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441675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8" y="264226"/>
            <a:ext cx="661343" cy="73126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DA0247D-9E67-4E15-8FC2-7380BEED71A9}"/>
              </a:ext>
            </a:extLst>
          </p:cNvPr>
          <p:cNvSpPr txBox="1"/>
          <p:nvPr userDrawn="1"/>
        </p:nvSpPr>
        <p:spPr>
          <a:xfrm>
            <a:off x="11030271" y="6285997"/>
            <a:ext cx="7682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0">
                <a:solidFill>
                  <a:schemeClr val="bg1">
                    <a:lumMod val="65000"/>
                  </a:schemeClr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rPr>
              <a:t>PAGE</a:t>
            </a:r>
            <a:endParaRPr lang="id-ID" sz="1050" b="0">
              <a:solidFill>
                <a:schemeClr val="bg1">
                  <a:lumMod val="65000"/>
                </a:schemeClr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65799E-9D2F-41F0-9E11-FFFB6699FACF}"/>
              </a:ext>
            </a:extLst>
          </p:cNvPr>
          <p:cNvSpPr txBox="1"/>
          <p:nvPr userDrawn="1"/>
        </p:nvSpPr>
        <p:spPr>
          <a:xfrm>
            <a:off x="11064484" y="6285997"/>
            <a:ext cx="80010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2CF0B6E-1CBE-4EAA-94C9-13AF12CE91F9}" type="slidenum">
              <a:rPr lang="en-US" sz="1050" b="1" i="0" smtClean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Krub" panose="00000500000000000000" pitchFamily="2" charset="-34"/>
              </a:rPr>
              <a:t>‹#›</a:t>
            </a:fld>
            <a:endParaRPr lang="id-ID" sz="1050" b="1" i="0">
              <a:solidFill>
                <a:schemeClr val="accent1"/>
              </a:solidFill>
              <a:latin typeface="+mn-lt"/>
              <a:ea typeface="Open Sans" panose="020B0606030504020204" pitchFamily="34" charset="0"/>
              <a:cs typeface="Krub" panose="00000500000000000000" pitchFamily="2" charset="-34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1ECD894-CCD7-47A2-B5FC-C2496EAA20CB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66C7D4-36D2-4FF1-8D40-B7B4F97FE736}"/>
              </a:ext>
            </a:extLst>
          </p:cNvPr>
          <p:cNvSpPr/>
          <p:nvPr userDrawn="1"/>
        </p:nvSpPr>
        <p:spPr>
          <a:xfrm>
            <a:off x="10042278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249551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AC27875-0423-45D9-AAEF-3E169D0B77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4516850"/>
            <a:ext cx="12192000" cy="234115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8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4347B63-0B3C-4632-BEDB-785F618881AF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084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CE8D4-D570-4289-A9A5-061D11D38195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68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9FB12C4-DD62-4ABC-B905-77282CC465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3263" y="1656660"/>
            <a:ext cx="3804047" cy="4686216"/>
          </a:xfrm>
          <a:custGeom>
            <a:avLst/>
            <a:gdLst>
              <a:gd name="connsiteX0" fmla="*/ 199294 w 3804047"/>
              <a:gd name="connsiteY0" fmla="*/ 0 h 4686216"/>
              <a:gd name="connsiteX1" fmla="*/ 3604753 w 3804047"/>
              <a:gd name="connsiteY1" fmla="*/ 0 h 4686216"/>
              <a:gd name="connsiteX2" fmla="*/ 3804047 w 3804047"/>
              <a:gd name="connsiteY2" fmla="*/ 199294 h 4686216"/>
              <a:gd name="connsiteX3" fmla="*/ 3804047 w 3804047"/>
              <a:gd name="connsiteY3" fmla="*/ 4486922 h 4686216"/>
              <a:gd name="connsiteX4" fmla="*/ 3604753 w 3804047"/>
              <a:gd name="connsiteY4" fmla="*/ 4686216 h 4686216"/>
              <a:gd name="connsiteX5" fmla="*/ 199294 w 3804047"/>
              <a:gd name="connsiteY5" fmla="*/ 4686216 h 4686216"/>
              <a:gd name="connsiteX6" fmla="*/ 0 w 3804047"/>
              <a:gd name="connsiteY6" fmla="*/ 4486922 h 4686216"/>
              <a:gd name="connsiteX7" fmla="*/ 0 w 3804047"/>
              <a:gd name="connsiteY7" fmla="*/ 199294 h 4686216"/>
              <a:gd name="connsiteX8" fmla="*/ 199294 w 3804047"/>
              <a:gd name="connsiteY8" fmla="*/ 0 h 468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4047" h="4686216">
                <a:moveTo>
                  <a:pt x="199294" y="0"/>
                </a:moveTo>
                <a:lnTo>
                  <a:pt x="3604753" y="0"/>
                </a:lnTo>
                <a:cubicBezTo>
                  <a:pt x="3714820" y="0"/>
                  <a:pt x="3804047" y="89227"/>
                  <a:pt x="3804047" y="199294"/>
                </a:cubicBezTo>
                <a:lnTo>
                  <a:pt x="3804047" y="4486922"/>
                </a:lnTo>
                <a:cubicBezTo>
                  <a:pt x="3804047" y="4596989"/>
                  <a:pt x="3714820" y="4686216"/>
                  <a:pt x="3604753" y="4686216"/>
                </a:cubicBezTo>
                <a:lnTo>
                  <a:pt x="199294" y="4686216"/>
                </a:lnTo>
                <a:cubicBezTo>
                  <a:pt x="89227" y="4686216"/>
                  <a:pt x="0" y="4596989"/>
                  <a:pt x="0" y="4486922"/>
                </a:cubicBezTo>
                <a:lnTo>
                  <a:pt x="0" y="199294"/>
                </a:lnTo>
                <a:cubicBezTo>
                  <a:pt x="0" y="89227"/>
                  <a:pt x="89227" y="0"/>
                  <a:pt x="19929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8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FAFE4DC-77C5-44AC-B50D-8ED4A2F02617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28995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67CB54E-6139-4EAC-9F6F-AEDE8775F8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97D37F5-4B9F-446E-B467-809FE2BC94CA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8263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0EB58-EF7E-435A-8B07-B5BCF3AF1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E24B5-652C-4DB5-B7C3-B5BBEC1280B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F76098-6FA1-470A-BEF4-E4B0AC75E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F57DE0-C032-4FCC-9006-09C2C328A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CD216-73DE-4B96-8E1B-BB64D86142BB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C776CB-2819-4488-9012-A6EA22079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15EEB49-54F4-404C-9B31-AD488BFCB2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72412" y="2219248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6B2DD458-866A-421E-9AD0-B0D9E119572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05572" y="2196083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57A4D097-9603-42DC-888D-8039CE6ADC9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7240" y="2019165"/>
            <a:ext cx="3017520" cy="3017520"/>
          </a:xfrm>
          <a:prstGeom prst="ellipse">
            <a:avLst/>
          </a:prstGeo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B9B9E0BA-35AD-4D69-9A03-35F2509C2C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612901" y="5033967"/>
            <a:ext cx="2700339" cy="738187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B1CC61B3-695C-423D-8F0B-45674DC932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45832" y="5236704"/>
            <a:ext cx="2700339" cy="738187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870F23E-35A1-4942-A685-641AA883066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78761" y="5033967"/>
            <a:ext cx="2700339" cy="738187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63B8202-88BB-4ED4-B936-9D9C0B4C8D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892427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27882-DF53-4178-99FE-9AEB4021C27F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54697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C37AD-FC75-47EE-A9B0-CBBA53889D60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3932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67F1B-8397-4CA0-BDC1-F24A511A27C5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1849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6E43C-B1FC-452D-9B5E-AD3A526CC6EE}" type="datetime1">
              <a:rPr lang="en-US" smtClean="0"/>
              <a:t>7/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6803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D4FCB-EC8D-4D74-B35E-675AB4A0A815}" type="datetime1">
              <a:rPr lang="en-US" smtClean="0"/>
              <a:t>7/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26591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51DBE2-5A55-47A7-A7D2-3E92E031603A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21671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CE8D4-D570-4289-A9A5-061D11D38195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6815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99AF3-8A33-42F6-9F22-44CCD2E48EF8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1438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99AF3-8A33-42F6-9F22-44CCD2E48EF8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1438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77F9A-1623-4279-865D-3386593A110C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2667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466D4-F270-415D-8CE5-A4C79A7C895A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081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252D4966-95B9-4A55-BCA4-9EB442EFF0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6" y="264226"/>
            <a:ext cx="661342" cy="731264"/>
          </a:xfrm>
          <a:prstGeom prst="rect">
            <a:avLst/>
          </a:prstGeom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4E445D-FE3D-42A6-A29E-1A54FEE2DE1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740748" y="2179960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467121 w 1709871"/>
              <a:gd name="connsiteY1" fmla="*/ 0 h 1832397"/>
              <a:gd name="connsiteX2" fmla="*/ 1709871 w 1709871"/>
              <a:gd name="connsiteY2" fmla="*/ 242750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467121" y="0"/>
                </a:lnTo>
                <a:cubicBezTo>
                  <a:pt x="1601188" y="0"/>
                  <a:pt x="1709871" y="108683"/>
                  <a:pt x="1709871" y="242750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1200"/>
            </a:lvl1pPr>
          </a:lstStyle>
          <a:p>
            <a:pPr lvl="0"/>
            <a:endParaRPr lang="en-ID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CACFBC2-531D-434F-AA3F-1EA7A6F61BA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4995" y="2179960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496154 w 1709871"/>
              <a:gd name="connsiteY1" fmla="*/ 0 h 1832397"/>
              <a:gd name="connsiteX2" fmla="*/ 1709871 w 1709871"/>
              <a:gd name="connsiteY2" fmla="*/ 213717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496154" y="0"/>
                </a:lnTo>
                <a:cubicBezTo>
                  <a:pt x="1614187" y="0"/>
                  <a:pt x="1709871" y="95684"/>
                  <a:pt x="1709871" y="213717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1200"/>
            </a:lvl1pPr>
          </a:lstStyle>
          <a:p>
            <a:pPr lvl="0"/>
            <a:endParaRPr lang="en-ID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ACDC1F2-4150-4E13-96EE-8FCD3DC565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449241" y="2179960"/>
            <a:ext cx="1709871" cy="1832397"/>
          </a:xfrm>
          <a:custGeom>
            <a:avLst/>
            <a:gdLst>
              <a:gd name="connsiteX0" fmla="*/ 0 w 1709871"/>
              <a:gd name="connsiteY0" fmla="*/ 0 h 1832397"/>
              <a:gd name="connsiteX1" fmla="*/ 1525171 w 1709871"/>
              <a:gd name="connsiteY1" fmla="*/ 0 h 1832397"/>
              <a:gd name="connsiteX2" fmla="*/ 1709871 w 1709871"/>
              <a:gd name="connsiteY2" fmla="*/ 184700 h 1832397"/>
              <a:gd name="connsiteX3" fmla="*/ 1709871 w 1709871"/>
              <a:gd name="connsiteY3" fmla="*/ 1832397 h 1832397"/>
              <a:gd name="connsiteX4" fmla="*/ 0 w 1709871"/>
              <a:gd name="connsiteY4" fmla="*/ 1832397 h 1832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871" h="1832397">
                <a:moveTo>
                  <a:pt x="0" y="0"/>
                </a:moveTo>
                <a:lnTo>
                  <a:pt x="1525171" y="0"/>
                </a:lnTo>
                <a:cubicBezTo>
                  <a:pt x="1627178" y="0"/>
                  <a:pt x="1709871" y="82693"/>
                  <a:pt x="1709871" y="184700"/>
                </a:cubicBezTo>
                <a:lnTo>
                  <a:pt x="1709871" y="1832397"/>
                </a:lnTo>
                <a:lnTo>
                  <a:pt x="0" y="1832397"/>
                </a:lnTo>
                <a:close/>
              </a:path>
            </a:pathLst>
          </a:custGeom>
        </p:spPr>
        <p:txBody>
          <a:bodyPr vert="horz" wrap="square" lIns="91440" tIns="45720" rIns="91440" bIns="45720" rtlCol="0">
            <a:noAutofit/>
          </a:bodyPr>
          <a:lstStyle>
            <a:lvl1pPr>
              <a:defRPr lang="en-ID" sz="1200"/>
            </a:lvl1pPr>
          </a:lstStyle>
          <a:p>
            <a:pPr lvl="0"/>
            <a:endParaRPr lang="en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F69AF0C-D3DA-4B08-BCDC-BB9B6720BA52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37641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9D0BF1-6376-446A-A7D6-6C8C9B55CDFD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71787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29FC14D0-4D2C-4224-A507-FC0042C006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804431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C2CF1DE-83F5-44A5-9D33-A92EEBA95D7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22686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A7961A-F68D-4A13-B157-6D5978D2BAC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18053" y="2069769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A6E48BF-2A94-47FD-A03C-0A8CA18626E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26803" y="2045255"/>
            <a:ext cx="1260764" cy="1260764"/>
          </a:xfrm>
          <a:custGeom>
            <a:avLst/>
            <a:gdLst>
              <a:gd name="connsiteX0" fmla="*/ 630382 w 1260764"/>
              <a:gd name="connsiteY0" fmla="*/ 0 h 1260764"/>
              <a:gd name="connsiteX1" fmla="*/ 1260764 w 1260764"/>
              <a:gd name="connsiteY1" fmla="*/ 630382 h 1260764"/>
              <a:gd name="connsiteX2" fmla="*/ 630382 w 1260764"/>
              <a:gd name="connsiteY2" fmla="*/ 1260764 h 1260764"/>
              <a:gd name="connsiteX3" fmla="*/ 0 w 1260764"/>
              <a:gd name="connsiteY3" fmla="*/ 630382 h 1260764"/>
              <a:gd name="connsiteX4" fmla="*/ 630382 w 1260764"/>
              <a:gd name="connsiteY4" fmla="*/ 0 h 12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0764" h="1260764">
                <a:moveTo>
                  <a:pt x="630382" y="0"/>
                </a:moveTo>
                <a:cubicBezTo>
                  <a:pt x="978532" y="0"/>
                  <a:pt x="1260764" y="282232"/>
                  <a:pt x="1260764" y="630382"/>
                </a:cubicBezTo>
                <a:cubicBezTo>
                  <a:pt x="1260764" y="978532"/>
                  <a:pt x="978532" y="1260764"/>
                  <a:pt x="630382" y="1260764"/>
                </a:cubicBezTo>
                <a:cubicBezTo>
                  <a:pt x="282232" y="1260764"/>
                  <a:pt x="0" y="978532"/>
                  <a:pt x="0" y="630382"/>
                </a:cubicBezTo>
                <a:cubicBezTo>
                  <a:pt x="0" y="282232"/>
                  <a:pt x="282232" y="0"/>
                  <a:pt x="6303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F7D235-E3FA-4618-946B-E67A90033B43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4398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45D49BE-CDB2-4926-80C5-C3A48E929F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08158" y="2496911"/>
            <a:ext cx="1137426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C20E53A-AD85-4653-A7F7-6D925DF3A7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30002" y="2496911"/>
            <a:ext cx="1137426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0365C77-F18C-4ED1-BF64-13295CE24D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51845" y="2496911"/>
            <a:ext cx="1137426" cy="1137426"/>
          </a:xfrm>
          <a:custGeom>
            <a:avLst/>
            <a:gdLst>
              <a:gd name="connsiteX0" fmla="*/ 568713 w 1137426"/>
              <a:gd name="connsiteY0" fmla="*/ 0 h 1137426"/>
              <a:gd name="connsiteX1" fmla="*/ 1137426 w 1137426"/>
              <a:gd name="connsiteY1" fmla="*/ 568713 h 1137426"/>
              <a:gd name="connsiteX2" fmla="*/ 568713 w 1137426"/>
              <a:gd name="connsiteY2" fmla="*/ 1137426 h 1137426"/>
              <a:gd name="connsiteX3" fmla="*/ 0 w 1137426"/>
              <a:gd name="connsiteY3" fmla="*/ 568713 h 1137426"/>
              <a:gd name="connsiteX4" fmla="*/ 568713 w 1137426"/>
              <a:gd name="connsiteY4" fmla="*/ 0 h 113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7426" h="1137426">
                <a:moveTo>
                  <a:pt x="568713" y="0"/>
                </a:moveTo>
                <a:cubicBezTo>
                  <a:pt x="882805" y="0"/>
                  <a:pt x="1137426" y="254621"/>
                  <a:pt x="1137426" y="568713"/>
                </a:cubicBezTo>
                <a:cubicBezTo>
                  <a:pt x="1137426" y="882805"/>
                  <a:pt x="882805" y="1137426"/>
                  <a:pt x="568713" y="1137426"/>
                </a:cubicBezTo>
                <a:cubicBezTo>
                  <a:pt x="254621" y="1137426"/>
                  <a:pt x="0" y="882805"/>
                  <a:pt x="0" y="568713"/>
                </a:cubicBezTo>
                <a:cubicBezTo>
                  <a:pt x="0" y="254621"/>
                  <a:pt x="254621" y="0"/>
                  <a:pt x="56871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0D17715-D1E7-4BDC-A9C7-82DCC5727F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14038" y="-2"/>
            <a:ext cx="3367314" cy="4818744"/>
          </a:xfrm>
          <a:custGeom>
            <a:avLst/>
            <a:gdLst>
              <a:gd name="connsiteX0" fmla="*/ 0 w 3367314"/>
              <a:gd name="connsiteY0" fmla="*/ 0 h 4818744"/>
              <a:gd name="connsiteX1" fmla="*/ 3367314 w 3367314"/>
              <a:gd name="connsiteY1" fmla="*/ 0 h 4818744"/>
              <a:gd name="connsiteX2" fmla="*/ 3367314 w 3367314"/>
              <a:gd name="connsiteY2" fmla="*/ 4818744 h 4818744"/>
              <a:gd name="connsiteX3" fmla="*/ 462602 w 3367314"/>
              <a:gd name="connsiteY3" fmla="*/ 4818744 h 4818744"/>
              <a:gd name="connsiteX4" fmla="*/ 0 w 3367314"/>
              <a:gd name="connsiteY4" fmla="*/ 4356142 h 481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7314" h="4818744">
                <a:moveTo>
                  <a:pt x="0" y="0"/>
                </a:moveTo>
                <a:lnTo>
                  <a:pt x="3367314" y="0"/>
                </a:lnTo>
                <a:lnTo>
                  <a:pt x="3367314" y="4818744"/>
                </a:lnTo>
                <a:lnTo>
                  <a:pt x="462602" y="4818744"/>
                </a:lnTo>
                <a:cubicBezTo>
                  <a:pt x="207114" y="4818744"/>
                  <a:pt x="0" y="4611630"/>
                  <a:pt x="0" y="4356142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8F065B1-6091-4AEC-BD00-8B0E0B0158E5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44013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CAD32D0-A73D-4CE7-AA2F-300B9A868FB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0686" y="1841611"/>
            <a:ext cx="10290629" cy="4319931"/>
          </a:xfrm>
          <a:custGeom>
            <a:avLst/>
            <a:gdLst>
              <a:gd name="connsiteX0" fmla="*/ 210811 w 10290629"/>
              <a:gd name="connsiteY0" fmla="*/ 0 h 4752270"/>
              <a:gd name="connsiteX1" fmla="*/ 10079818 w 10290629"/>
              <a:gd name="connsiteY1" fmla="*/ 0 h 4752270"/>
              <a:gd name="connsiteX2" fmla="*/ 10290629 w 10290629"/>
              <a:gd name="connsiteY2" fmla="*/ 210811 h 4752270"/>
              <a:gd name="connsiteX3" fmla="*/ 10290629 w 10290629"/>
              <a:gd name="connsiteY3" fmla="*/ 4541459 h 4752270"/>
              <a:gd name="connsiteX4" fmla="*/ 10079818 w 10290629"/>
              <a:gd name="connsiteY4" fmla="*/ 4752270 h 4752270"/>
              <a:gd name="connsiteX5" fmla="*/ 210811 w 10290629"/>
              <a:gd name="connsiteY5" fmla="*/ 4752270 h 4752270"/>
              <a:gd name="connsiteX6" fmla="*/ 0 w 10290629"/>
              <a:gd name="connsiteY6" fmla="*/ 4541459 h 4752270"/>
              <a:gd name="connsiteX7" fmla="*/ 0 w 10290629"/>
              <a:gd name="connsiteY7" fmla="*/ 210811 h 4752270"/>
              <a:gd name="connsiteX8" fmla="*/ 210811 w 10290629"/>
              <a:gd name="connsiteY8" fmla="*/ 0 h 4752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90629" h="4752270">
                <a:moveTo>
                  <a:pt x="210811" y="0"/>
                </a:moveTo>
                <a:lnTo>
                  <a:pt x="10079818" y="0"/>
                </a:lnTo>
                <a:cubicBezTo>
                  <a:pt x="10196246" y="0"/>
                  <a:pt x="10290629" y="94383"/>
                  <a:pt x="10290629" y="210811"/>
                </a:cubicBezTo>
                <a:lnTo>
                  <a:pt x="10290629" y="4541459"/>
                </a:lnTo>
                <a:cubicBezTo>
                  <a:pt x="10290629" y="4657887"/>
                  <a:pt x="10196246" y="4752270"/>
                  <a:pt x="10079818" y="4752270"/>
                </a:cubicBezTo>
                <a:lnTo>
                  <a:pt x="210811" y="4752270"/>
                </a:lnTo>
                <a:cubicBezTo>
                  <a:pt x="94383" y="4752270"/>
                  <a:pt x="0" y="4657887"/>
                  <a:pt x="0" y="4541459"/>
                </a:cubicBezTo>
                <a:lnTo>
                  <a:pt x="0" y="210811"/>
                </a:lnTo>
                <a:cubicBezTo>
                  <a:pt x="0" y="94383"/>
                  <a:pt x="94383" y="0"/>
                  <a:pt x="21081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CBD41B1-871C-475F-B448-0686C38A4830}" type="datetime1">
              <a:rPr lang="en-US" smtClean="0"/>
              <a:t>7/8/2023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8127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E4508-01FE-4D47-BD11-C7896F224A93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617777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7807C-A118-4931-84AD-B910F23AE66F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8232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77F9A-1623-4279-865D-3386593A110C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2667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49F9B-2A2A-46D0-9F2E-9A91E67F9294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8358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E6422-21CC-4051-ACC3-4C8974EBDEE9}" type="datetime1">
              <a:rPr lang="en-US" smtClean="0"/>
              <a:t>7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50742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6" y="264226"/>
            <a:ext cx="661342" cy="73126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DA0247D-9E67-4E15-8FC2-7380BEED71A9}"/>
              </a:ext>
            </a:extLst>
          </p:cNvPr>
          <p:cNvSpPr txBox="1"/>
          <p:nvPr userDrawn="1"/>
        </p:nvSpPr>
        <p:spPr>
          <a:xfrm>
            <a:off x="11030271" y="6285997"/>
            <a:ext cx="768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>
                <a:solidFill>
                  <a:schemeClr val="bg1">
                    <a:lumMod val="65000"/>
                  </a:schemeClr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rPr>
              <a:t>PAGE</a:t>
            </a:r>
            <a:endParaRPr lang="id-ID" sz="1400" b="0">
              <a:solidFill>
                <a:schemeClr val="bg1">
                  <a:lumMod val="65000"/>
                </a:schemeClr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65799E-9D2F-41F0-9E11-FFFB6699FACF}"/>
              </a:ext>
            </a:extLst>
          </p:cNvPr>
          <p:cNvSpPr txBox="1"/>
          <p:nvPr userDrawn="1"/>
        </p:nvSpPr>
        <p:spPr>
          <a:xfrm>
            <a:off x="11064483" y="6285997"/>
            <a:ext cx="8001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2CF0B6E-1CBE-4EAA-94C9-13AF12CE91F9}" type="slidenum">
              <a:rPr lang="en-US" sz="1400" b="1" i="0" smtClean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Krub" panose="00000500000000000000" pitchFamily="2" charset="-34"/>
              </a:rPr>
              <a:t>‹#›</a:t>
            </a:fld>
            <a:endParaRPr lang="id-ID" sz="1400" b="1" i="0">
              <a:solidFill>
                <a:schemeClr val="accent1"/>
              </a:solidFill>
              <a:latin typeface="+mn-lt"/>
              <a:ea typeface="Open Sans" panose="020B0606030504020204" pitchFamily="34" charset="0"/>
              <a:cs typeface="Krub" panose="00000500000000000000" pitchFamily="2" charset="-34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1ECD894-CCD7-47A2-B5FC-C2496EAA20CB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66C7D4-36D2-4FF1-8D40-B7B4F97FE736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663607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AC27875-0423-45D9-AAEF-3E169D0B77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4516850"/>
            <a:ext cx="12192000" cy="234115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4347B63-0B3C-4632-BEDB-785F618881AF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9165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9FB12C4-DD62-4ABC-B905-77282CC465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3260" y="1656660"/>
            <a:ext cx="3804047" cy="4686216"/>
          </a:xfrm>
          <a:custGeom>
            <a:avLst/>
            <a:gdLst>
              <a:gd name="connsiteX0" fmla="*/ 199294 w 3804047"/>
              <a:gd name="connsiteY0" fmla="*/ 0 h 4686216"/>
              <a:gd name="connsiteX1" fmla="*/ 3604753 w 3804047"/>
              <a:gd name="connsiteY1" fmla="*/ 0 h 4686216"/>
              <a:gd name="connsiteX2" fmla="*/ 3804047 w 3804047"/>
              <a:gd name="connsiteY2" fmla="*/ 199294 h 4686216"/>
              <a:gd name="connsiteX3" fmla="*/ 3804047 w 3804047"/>
              <a:gd name="connsiteY3" fmla="*/ 4486922 h 4686216"/>
              <a:gd name="connsiteX4" fmla="*/ 3604753 w 3804047"/>
              <a:gd name="connsiteY4" fmla="*/ 4686216 h 4686216"/>
              <a:gd name="connsiteX5" fmla="*/ 199294 w 3804047"/>
              <a:gd name="connsiteY5" fmla="*/ 4686216 h 4686216"/>
              <a:gd name="connsiteX6" fmla="*/ 0 w 3804047"/>
              <a:gd name="connsiteY6" fmla="*/ 4486922 h 4686216"/>
              <a:gd name="connsiteX7" fmla="*/ 0 w 3804047"/>
              <a:gd name="connsiteY7" fmla="*/ 199294 h 4686216"/>
              <a:gd name="connsiteX8" fmla="*/ 199294 w 3804047"/>
              <a:gd name="connsiteY8" fmla="*/ 0 h 468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4047" h="4686216">
                <a:moveTo>
                  <a:pt x="199294" y="0"/>
                </a:moveTo>
                <a:lnTo>
                  <a:pt x="3604753" y="0"/>
                </a:lnTo>
                <a:cubicBezTo>
                  <a:pt x="3714820" y="0"/>
                  <a:pt x="3804047" y="89227"/>
                  <a:pt x="3804047" y="199294"/>
                </a:cubicBezTo>
                <a:lnTo>
                  <a:pt x="3804047" y="4486922"/>
                </a:lnTo>
                <a:cubicBezTo>
                  <a:pt x="3804047" y="4596989"/>
                  <a:pt x="3714820" y="4686216"/>
                  <a:pt x="3604753" y="4686216"/>
                </a:cubicBezTo>
                <a:lnTo>
                  <a:pt x="199294" y="4686216"/>
                </a:lnTo>
                <a:cubicBezTo>
                  <a:pt x="89227" y="4686216"/>
                  <a:pt x="0" y="4596989"/>
                  <a:pt x="0" y="4486922"/>
                </a:cubicBezTo>
                <a:lnTo>
                  <a:pt x="0" y="199294"/>
                </a:lnTo>
                <a:cubicBezTo>
                  <a:pt x="0" y="89227"/>
                  <a:pt x="89227" y="0"/>
                  <a:pt x="19929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1F47649-BE3E-4087-8717-2B231EA8DB0F}"/>
              </a:ext>
            </a:extLst>
          </p:cNvPr>
          <p:cNvSpPr/>
          <p:nvPr userDrawn="1"/>
        </p:nvSpPr>
        <p:spPr>
          <a:xfrm>
            <a:off x="0" y="2278436"/>
            <a:ext cx="2149725" cy="4299446"/>
          </a:xfrm>
          <a:custGeom>
            <a:avLst/>
            <a:gdLst>
              <a:gd name="connsiteX0" fmla="*/ 1 w 2149725"/>
              <a:gd name="connsiteY0" fmla="*/ 458730 h 4299446"/>
              <a:gd name="connsiteX1" fmla="*/ 1 w 2149725"/>
              <a:gd name="connsiteY1" fmla="*/ 3840716 h 4299446"/>
              <a:gd name="connsiteX2" fmla="*/ 1690994 w 2149725"/>
              <a:gd name="connsiteY2" fmla="*/ 2149723 h 4299446"/>
              <a:gd name="connsiteX3" fmla="*/ 1 w 2149725"/>
              <a:gd name="connsiteY3" fmla="*/ 458730 h 4299446"/>
              <a:gd name="connsiteX4" fmla="*/ 0 w 2149725"/>
              <a:gd name="connsiteY4" fmla="*/ 0 h 4299446"/>
              <a:gd name="connsiteX5" fmla="*/ 1 w 2149725"/>
              <a:gd name="connsiteY5" fmla="*/ 0 h 4299446"/>
              <a:gd name="connsiteX6" fmla="*/ 2149725 w 2149725"/>
              <a:gd name="connsiteY6" fmla="*/ 2149723 h 4299446"/>
              <a:gd name="connsiteX7" fmla="*/ 1 w 2149725"/>
              <a:gd name="connsiteY7" fmla="*/ 4299446 h 4299446"/>
              <a:gd name="connsiteX8" fmla="*/ 0 w 2149725"/>
              <a:gd name="connsiteY8" fmla="*/ 4299446 h 4299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5" h="4299446">
                <a:moveTo>
                  <a:pt x="1" y="458730"/>
                </a:moveTo>
                <a:lnTo>
                  <a:pt x="1" y="3840716"/>
                </a:lnTo>
                <a:cubicBezTo>
                  <a:pt x="933911" y="3840716"/>
                  <a:pt x="1690994" y="3083633"/>
                  <a:pt x="1690994" y="2149723"/>
                </a:cubicBezTo>
                <a:cubicBezTo>
                  <a:pt x="1690994" y="1215813"/>
                  <a:pt x="933911" y="458730"/>
                  <a:pt x="1" y="458730"/>
                </a:cubicBezTo>
                <a:close/>
                <a:moveTo>
                  <a:pt x="0" y="0"/>
                </a:moveTo>
                <a:lnTo>
                  <a:pt x="1" y="0"/>
                </a:lnTo>
                <a:cubicBezTo>
                  <a:pt x="1187261" y="0"/>
                  <a:pt x="2149725" y="962464"/>
                  <a:pt x="2149725" y="2149723"/>
                </a:cubicBezTo>
                <a:cubicBezTo>
                  <a:pt x="2149725" y="3336982"/>
                  <a:pt x="1187261" y="4299446"/>
                  <a:pt x="1" y="4299446"/>
                </a:cubicBezTo>
                <a:lnTo>
                  <a:pt x="0" y="4299446"/>
                </a:ln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A93BC47-50CA-4D22-B1F8-63534DAC8320}"/>
              </a:ext>
            </a:extLst>
          </p:cNvPr>
          <p:cNvSpPr/>
          <p:nvPr userDrawn="1"/>
        </p:nvSpPr>
        <p:spPr>
          <a:xfrm>
            <a:off x="10042276" y="0"/>
            <a:ext cx="2149724" cy="3233904"/>
          </a:xfrm>
          <a:custGeom>
            <a:avLst/>
            <a:gdLst>
              <a:gd name="connsiteX0" fmla="*/ 295604 w 2149724"/>
              <a:gd name="connsiteY0" fmla="*/ 0 h 3233904"/>
              <a:gd name="connsiteX1" fmla="*/ 852643 w 2149724"/>
              <a:gd name="connsiteY1" fmla="*/ 0 h 3233904"/>
              <a:gd name="connsiteX2" fmla="*/ 844870 w 2149724"/>
              <a:gd name="connsiteY2" fmla="*/ 8552 h 3233904"/>
              <a:gd name="connsiteX3" fmla="*/ 458730 w 2149724"/>
              <a:gd name="connsiteY3" fmla="*/ 1084181 h 3233904"/>
              <a:gd name="connsiteX4" fmla="*/ 2149723 w 2149724"/>
              <a:gd name="connsiteY4" fmla="*/ 2775174 h 3233904"/>
              <a:gd name="connsiteX5" fmla="*/ 2149724 w 2149724"/>
              <a:gd name="connsiteY5" fmla="*/ 2775174 h 3233904"/>
              <a:gd name="connsiteX6" fmla="*/ 2149724 w 2149724"/>
              <a:gd name="connsiteY6" fmla="*/ 3233904 h 3233904"/>
              <a:gd name="connsiteX7" fmla="*/ 0 w 2149724"/>
              <a:gd name="connsiteY7" fmla="*/ 1084181 h 3233904"/>
              <a:gd name="connsiteX8" fmla="*/ 259460 w 2149724"/>
              <a:gd name="connsiteY8" fmla="*/ 59495 h 323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724" h="3233904">
                <a:moveTo>
                  <a:pt x="295604" y="0"/>
                </a:moveTo>
                <a:lnTo>
                  <a:pt x="852643" y="0"/>
                </a:lnTo>
                <a:lnTo>
                  <a:pt x="844870" y="8552"/>
                </a:lnTo>
                <a:cubicBezTo>
                  <a:pt x="603640" y="300856"/>
                  <a:pt x="458730" y="675595"/>
                  <a:pt x="458730" y="1084181"/>
                </a:cubicBezTo>
                <a:cubicBezTo>
                  <a:pt x="458730" y="2018091"/>
                  <a:pt x="1215813" y="2775174"/>
                  <a:pt x="2149723" y="2775174"/>
                </a:cubicBezTo>
                <a:lnTo>
                  <a:pt x="2149724" y="2775174"/>
                </a:lnTo>
                <a:lnTo>
                  <a:pt x="2149724" y="3233904"/>
                </a:lnTo>
                <a:cubicBezTo>
                  <a:pt x="962464" y="3233904"/>
                  <a:pt x="0" y="2271440"/>
                  <a:pt x="0" y="1084181"/>
                </a:cubicBezTo>
                <a:cubicBezTo>
                  <a:pt x="0" y="713163"/>
                  <a:pt x="93991" y="364097"/>
                  <a:pt x="259460" y="59495"/>
                </a:cubicBezTo>
                <a:close/>
              </a:path>
            </a:pathLst>
          </a:cu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FAFE4DC-77C5-44AC-B50D-8ED4A2F02617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32672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67CB54E-6139-4EAC-9F6F-AEDE8775F8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97D37F5-4B9F-446E-B467-809FE2BC94CA}" type="datetime1">
              <a:rPr lang="en-US" smtClean="0"/>
              <a:t>7/8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94260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0EB58-EF7E-435A-8B07-B5BCF3AF1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E24B5-652C-4DB5-B7C3-B5BBEC1280B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F76098-6FA1-470A-BEF4-E4B0AC75E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F57DE0-C032-4FCC-9006-09C2C328A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CD216-73DE-4B96-8E1B-BB64D86142BB}" type="datetime1">
              <a:rPr lang="en-US" smtClean="0"/>
              <a:t>7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C776CB-2819-4488-9012-A6EA22079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15EEB49-54F4-404C-9B31-AD488BFCB2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72412" y="2219248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6B2DD458-866A-421E-9AD0-B0D9E119572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05572" y="2196083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57A4D097-9603-42DC-888D-8039CE6ADC9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7240" y="2019165"/>
            <a:ext cx="3017520" cy="3017520"/>
          </a:xfrm>
          <a:prstGeom prst="ellipse">
            <a:avLst/>
          </a:prstGeo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B9B9E0BA-35AD-4D69-9A03-35F2509C2C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612900" y="5033963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B1CC61B3-695C-423D-8F0B-45674DC932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45831" y="5236700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870F23E-35A1-4942-A685-641AA883066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78762" y="5033963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63B8202-88BB-4ED4-B936-9D9C0B4C8D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826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image" Target="../media/image3.jpeg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image" Target="../media/image5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image" Target="../media/image4.png"/><Relationship Id="rId30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image" Target="../media/image5.emf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image" Target="../media/image4.png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8758" y="546416"/>
            <a:ext cx="10214484" cy="7487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8758" y="1825625"/>
            <a:ext cx="1021448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C93584-EAB6-4880-A597-387756282434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6" y="555174"/>
            <a:ext cx="661342" cy="73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924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5" r:id="rId24"/>
  </p:sldLayoutIdLst>
  <p:hf hd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6">
            <a:alphaModFix amt="30000"/>
            <a:lum/>
          </a:blip>
          <a:srcRect/>
          <a:stretch>
            <a:fillRect t="-14000" b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8758" y="546416"/>
            <a:ext cx="10214484" cy="7487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8758" y="1825625"/>
            <a:ext cx="1021448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C93584-EAB6-4880-A597-387756282434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6" y="555174"/>
            <a:ext cx="661342" cy="73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924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</p:sldLayoutIdLst>
  <p:hf hd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7">
            <a:alphaModFix amt="36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6EC76E2-C656-F11B-ED1D-ED135EDC02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82278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6EC76E2-C656-F11B-ED1D-ED135EDC0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8759" y="546416"/>
            <a:ext cx="10214484" cy="7487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8759" y="1825625"/>
            <a:ext cx="1021448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C93584-EAB6-4880-A597-387756282434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8" y="555174"/>
            <a:ext cx="661343" cy="73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730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</p:sldLayoutIdLst>
  <p:hf hd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7">
            <a:alphaModFix amt="36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243983-0D2D-1319-3FD0-8F764C50B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442791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243983-0D2D-1319-3FD0-8F764C50B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8758" y="546416"/>
            <a:ext cx="10214484" cy="7487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8758" y="1825625"/>
            <a:ext cx="1021448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C93584-EAB6-4880-A597-387756282434}" type="datetime1">
              <a:rPr lang="en-US" smtClean="0"/>
              <a:t>7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stemplate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C56289-2E4F-41AB-AC96-A58CF64457E5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5CCC4D-B10D-48BB-BCE0-F30D11B4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27416" y="555174"/>
            <a:ext cx="661342" cy="73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924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29" r:id="rId24"/>
  </p:sldLayoutIdLst>
  <p:hf hd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4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11" Type="http://schemas.openxmlformats.org/officeDocument/2006/relationships/image" Target="../media/image48.png"/><Relationship Id="rId5" Type="http://schemas.openxmlformats.org/officeDocument/2006/relationships/diagramColors" Target="../diagrams/colors2.xml"/><Relationship Id="rId10" Type="http://schemas.openxmlformats.org/officeDocument/2006/relationships/image" Target="../media/image47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2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news.airbnb.com/airbnb-unveils-roadmap-to-bring-magical-travel-to-everyone/" TargetMode="External"/><Relationship Id="rId3" Type="http://schemas.openxmlformats.org/officeDocument/2006/relationships/hyperlink" Target="https://www.sec.gov/ix?doc=/Archives/edgar/data/0001559720/000155972023000003/abnb-20221231.htm" TargetMode="External"/><Relationship Id="rId7" Type="http://schemas.openxmlformats.org/officeDocument/2006/relationships/hyperlink" Target="https://www.rentalscaleup.com/2022-airbnb-strategy/" TargetMode="External"/><Relationship Id="rId12" Type="http://schemas.openxmlformats.org/officeDocument/2006/relationships/image" Target="../media/image10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www.youtube.com/watch?v=16cM-RFid9U" TargetMode="External"/><Relationship Id="rId11" Type="http://schemas.openxmlformats.org/officeDocument/2006/relationships/hyperlink" Target="https://www.rentalscaleup.com/airbnb-2022-summer-update-release/" TargetMode="External"/><Relationship Id="rId5" Type="http://schemas.openxmlformats.org/officeDocument/2006/relationships/hyperlink" Target="https://en.wikipedia.org/wiki/Airbnb" TargetMode="External"/><Relationship Id="rId10" Type="http://schemas.openxmlformats.org/officeDocument/2006/relationships/hyperlink" Target="https://www.sec.gov/ix?doc=/Archives/edgar/data/0001075531/000107553123000016/bkng-20221231.htm" TargetMode="External"/><Relationship Id="rId4" Type="http://schemas.openxmlformats.org/officeDocument/2006/relationships/hyperlink" Target="https://seekingalpha.com/article/4559301-airbnb-a-revolutionary-company-set-to-outperform-the-market" TargetMode="External"/><Relationship Id="rId9" Type="http://schemas.openxmlformats.org/officeDocument/2006/relationships/hyperlink" Target="https://www.sec.gov/ix?doc=/Archives/edgar/data/0001324424/000132442423000007/expe-20221231.htm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gif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2.gi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4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290" y="2328954"/>
            <a:ext cx="6270172" cy="1267942"/>
          </a:xfrm>
        </p:spPr>
        <p:txBody>
          <a:bodyPr>
            <a:normAutofit/>
          </a:bodyPr>
          <a:lstStyle/>
          <a:p>
            <a:pPr algn="l"/>
            <a:r>
              <a:rPr lang="en-US" sz="4800" err="1"/>
              <a:t>AirBed</a:t>
            </a:r>
            <a:r>
              <a:rPr lang="en-US" sz="4800"/>
              <a:t> &amp; Breakfas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11F00B-9F63-4EE7-BDEB-D37C9DA3E8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2777671" y="588675"/>
            <a:ext cx="1307369" cy="1444492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345F5B93-CBBB-DB36-C0FA-E96C398B84A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4000"/>
          </a:blip>
          <a:stretch>
            <a:fillRect/>
          </a:stretch>
        </p:blipFill>
        <p:spPr>
          <a:xfrm>
            <a:off x="0" y="3512037"/>
            <a:ext cx="7309969" cy="3343274"/>
          </a:xfrm>
          <a:prstGeom prst="rect">
            <a:avLst/>
          </a:prstGeom>
        </p:spPr>
      </p:pic>
      <p:pic>
        <p:nvPicPr>
          <p:cNvPr id="15" name="Picture 15">
            <a:extLst>
              <a:ext uri="{FF2B5EF4-FFF2-40B4-BE49-F238E27FC236}">
                <a16:creationId xmlns:a16="http://schemas.microsoft.com/office/drawing/2014/main" id="{FF924288-50C8-325B-F14D-A87E585873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7658" y="-2688"/>
            <a:ext cx="4874419" cy="68579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B355A31-A68C-BE4D-270A-BD63E71F39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951" y="425389"/>
            <a:ext cx="1752600" cy="160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3968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942698" y="380299"/>
            <a:ext cx="10214484" cy="748780"/>
          </a:xfrm>
        </p:spPr>
        <p:txBody>
          <a:bodyPr/>
          <a:lstStyle/>
          <a:p>
            <a:r>
              <a:rPr lang="en-US" sz="3200">
                <a:solidFill>
                  <a:srgbClr val="FF5A5F"/>
                </a:solidFill>
              </a:rPr>
              <a:t>STICKINES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B7AC7E5-A4D9-4B78-ADDD-2F914FBDD086}"/>
              </a:ext>
            </a:extLst>
          </p:cNvPr>
          <p:cNvGrpSpPr/>
          <p:nvPr/>
        </p:nvGrpSpPr>
        <p:grpSpPr>
          <a:xfrm>
            <a:off x="1442511" y="1526224"/>
            <a:ext cx="4608813" cy="4905988"/>
            <a:chOff x="1225510" y="2218751"/>
            <a:chExt cx="3406398" cy="3237601"/>
          </a:xfrm>
          <a:effectLst/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688C156B-7758-48D4-8F22-6DC7E4FF2F18}"/>
                </a:ext>
              </a:extLst>
            </p:cNvPr>
            <p:cNvSpPr/>
            <p:nvPr/>
          </p:nvSpPr>
          <p:spPr>
            <a:xfrm>
              <a:off x="1225510" y="2218751"/>
              <a:ext cx="3406150" cy="1413722"/>
            </a:xfrm>
            <a:prstGeom prst="roundRect">
              <a:avLst>
                <a:gd name="adj" fmla="val 4888"/>
              </a:avLst>
            </a:prstGeom>
            <a:solidFill>
              <a:schemeClr val="accent1"/>
            </a:solidFill>
            <a:ln>
              <a:noFill/>
            </a:ln>
            <a:effectLst>
              <a:outerShdw blurRad="203200" dist="38100" dir="2700000" sx="97000" sy="97000" algn="tl" rotWithShape="0">
                <a:prstClr val="black">
                  <a:alpha val="4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02EA6A16-83ED-4337-AC2F-D31F5848E850}"/>
                </a:ext>
              </a:extLst>
            </p:cNvPr>
            <p:cNvSpPr/>
            <p:nvPr/>
          </p:nvSpPr>
          <p:spPr>
            <a:xfrm>
              <a:off x="1229145" y="4122608"/>
              <a:ext cx="3402763" cy="1333744"/>
            </a:xfrm>
            <a:prstGeom prst="roundRect">
              <a:avLst>
                <a:gd name="adj" fmla="val 4888"/>
              </a:avLst>
            </a:prstGeom>
            <a:solidFill>
              <a:schemeClr val="accent1"/>
            </a:solidFill>
            <a:ln>
              <a:noFill/>
            </a:ln>
            <a:effectLst>
              <a:outerShdw blurRad="203200" dist="38100" dir="2700000" sx="97000" sy="97000" algn="tl" rotWithShape="0">
                <a:prstClr val="black">
                  <a:alpha val="4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8" name="Picture 58">
            <a:extLst>
              <a:ext uri="{FF2B5EF4-FFF2-40B4-BE49-F238E27FC236}">
                <a16:creationId xmlns:a16="http://schemas.microsoft.com/office/drawing/2014/main" id="{890E7C70-C006-809D-FD30-7FF0CCBA5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3737" y="5366359"/>
            <a:ext cx="887288" cy="89661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E36C9F7-FA5D-0B13-7063-58203D8959F4}"/>
              </a:ext>
            </a:extLst>
          </p:cNvPr>
          <p:cNvSpPr/>
          <p:nvPr/>
        </p:nvSpPr>
        <p:spPr>
          <a:xfrm>
            <a:off x="1305765" y="1861153"/>
            <a:ext cx="4891267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400" b="1"/>
              <a:t>Trust and Reliabilit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D3DA835-D268-0F7F-89A3-575C39C0EC6A}"/>
              </a:ext>
            </a:extLst>
          </p:cNvPr>
          <p:cNvSpPr/>
          <p:nvPr/>
        </p:nvSpPr>
        <p:spPr>
          <a:xfrm>
            <a:off x="2136352" y="4583761"/>
            <a:ext cx="3414408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400" b="1"/>
              <a:t>User Experience &amp; Personalization</a:t>
            </a:r>
          </a:p>
          <a:p>
            <a:pPr algn="ctr"/>
            <a:endParaRPr lang="en-US" sz="2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B080FF-3E63-D9C3-E373-40AB1BF0D634}"/>
              </a:ext>
            </a:extLst>
          </p:cNvPr>
          <p:cNvSpPr txBox="1"/>
          <p:nvPr/>
        </p:nvSpPr>
        <p:spPr>
          <a:xfrm>
            <a:off x="3073326" y="2658580"/>
            <a:ext cx="2919131" cy="8925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b="1">
                <a:ea typeface="+mn-lt"/>
                <a:cs typeface="+mn-lt"/>
              </a:rPr>
              <a:t>Trusted platform </a:t>
            </a:r>
            <a:endParaRPr lang="en-US" sz="2000" b="1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>
                <a:ea typeface="+mn-lt"/>
                <a:cs typeface="+mn-lt"/>
              </a:rPr>
              <a:t>Aircover for guests</a:t>
            </a:r>
            <a:endParaRPr lang="en-US" sz="2000" b="1"/>
          </a:p>
          <a:p>
            <a:pPr algn="ctr"/>
            <a:endParaRPr lang="en-US" sz="20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2D11FDE-7935-2404-8E35-05850CD6F72C}"/>
              </a:ext>
            </a:extLst>
          </p:cNvPr>
          <p:cNvSpPr txBox="1"/>
          <p:nvPr/>
        </p:nvSpPr>
        <p:spPr>
          <a:xfrm>
            <a:off x="3156976" y="5563485"/>
            <a:ext cx="2893677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b="1">
                <a:ea typeface="+mn-lt"/>
                <a:cs typeface="+mn-lt"/>
              </a:rPr>
              <a:t>Split stays</a:t>
            </a:r>
            <a:endParaRPr lang="en-US" sz="2000" b="1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>
                <a:ea typeface="+mn-lt"/>
                <a:cs typeface="+mn-lt"/>
              </a:rPr>
              <a:t>Airbnb Experiences</a:t>
            </a:r>
            <a:endParaRPr lang="en-US" sz="2000" b="1"/>
          </a:p>
        </p:txBody>
      </p:sp>
      <p:pic>
        <p:nvPicPr>
          <p:cNvPr id="28" name="Picture 12" descr="A picture containing dark, night sky&#10;&#10;Description automatically generated">
            <a:extLst>
              <a:ext uri="{FF2B5EF4-FFF2-40B4-BE49-F238E27FC236}">
                <a16:creationId xmlns:a16="http://schemas.microsoft.com/office/drawing/2014/main" id="{88308699-6160-0F9A-8330-F3B58D4D75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3805" y="2475710"/>
            <a:ext cx="957940" cy="959495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44F21CFF-34A4-4885-1513-62D811B95ED0}"/>
              </a:ext>
            </a:extLst>
          </p:cNvPr>
          <p:cNvGrpSpPr/>
          <p:nvPr/>
        </p:nvGrpSpPr>
        <p:grpSpPr>
          <a:xfrm>
            <a:off x="6396458" y="1529349"/>
            <a:ext cx="4514173" cy="4928336"/>
            <a:chOff x="5685113" y="2304044"/>
            <a:chExt cx="3402884" cy="3072133"/>
          </a:xfrm>
          <a:effectLst/>
        </p:grpSpPr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789F5D58-8B18-B235-3A51-F908F41B3220}"/>
                </a:ext>
              </a:extLst>
            </p:cNvPr>
            <p:cNvSpPr/>
            <p:nvPr/>
          </p:nvSpPr>
          <p:spPr>
            <a:xfrm>
              <a:off x="5687207" y="2304044"/>
              <a:ext cx="3336544" cy="1376047"/>
            </a:xfrm>
            <a:prstGeom prst="roundRect">
              <a:avLst>
                <a:gd name="adj" fmla="val 4888"/>
              </a:avLst>
            </a:prstGeom>
            <a:solidFill>
              <a:schemeClr val="accent1"/>
            </a:solidFill>
            <a:ln>
              <a:noFill/>
            </a:ln>
            <a:effectLst>
              <a:outerShdw blurRad="203200" dist="38100" dir="2700000" sx="97000" sy="97000" algn="tl" rotWithShape="0">
                <a:prstClr val="black">
                  <a:alpha val="4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/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F4BDE743-BC53-CED2-FD92-0E3E9AE7F5A0}"/>
                </a:ext>
              </a:extLst>
            </p:cNvPr>
            <p:cNvSpPr/>
            <p:nvPr/>
          </p:nvSpPr>
          <p:spPr>
            <a:xfrm>
              <a:off x="5685113" y="4085260"/>
              <a:ext cx="3402884" cy="1290917"/>
            </a:xfrm>
            <a:prstGeom prst="roundRect">
              <a:avLst>
                <a:gd name="adj" fmla="val 4888"/>
              </a:avLst>
            </a:prstGeom>
            <a:solidFill>
              <a:schemeClr val="accent1"/>
            </a:solidFill>
            <a:ln>
              <a:noFill/>
            </a:ln>
            <a:effectLst>
              <a:outerShdw blurRad="203200" dist="38100" dir="2700000" sx="97000" sy="97000" algn="tl" rotWithShape="0">
                <a:prstClr val="black">
                  <a:alpha val="4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5" name="Picture 38" descr="A black background with a black square&#10;&#10;Description automatically generated">
            <a:extLst>
              <a:ext uri="{FF2B5EF4-FFF2-40B4-BE49-F238E27FC236}">
                <a16:creationId xmlns:a16="http://schemas.microsoft.com/office/drawing/2014/main" id="{B0F5FFF1-512D-9A1D-49A5-F018EC11F7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71084" y="2368183"/>
            <a:ext cx="1218384" cy="1230732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65568E6B-A7C1-2336-3423-A313ABECE4CD}"/>
              </a:ext>
            </a:extLst>
          </p:cNvPr>
          <p:cNvSpPr/>
          <p:nvPr/>
        </p:nvSpPr>
        <p:spPr>
          <a:xfrm>
            <a:off x="6798153" y="1860078"/>
            <a:ext cx="3618351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400" b="1"/>
              <a:t>Loyalty Program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BAC61D1-6547-A6EA-B9A2-1720B47CC8F0}"/>
              </a:ext>
            </a:extLst>
          </p:cNvPr>
          <p:cNvSpPr/>
          <p:nvPr/>
        </p:nvSpPr>
        <p:spPr>
          <a:xfrm>
            <a:off x="7059153" y="4581736"/>
            <a:ext cx="3360497" cy="83099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400" b="1"/>
              <a:t>Community &amp; Social Connections</a:t>
            </a:r>
          </a:p>
        </p:txBody>
      </p:sp>
      <p:pic>
        <p:nvPicPr>
          <p:cNvPr id="62" name="Picture 26" descr="Icon&#10;&#10;Description automatically generated">
            <a:extLst>
              <a:ext uri="{FF2B5EF4-FFF2-40B4-BE49-F238E27FC236}">
                <a16:creationId xmlns:a16="http://schemas.microsoft.com/office/drawing/2014/main" id="{D96CD0D0-1D5B-D598-7803-8DED600114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15371" y="5389356"/>
            <a:ext cx="865653" cy="853427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0115A8E0-ADA8-5296-56CF-39C330BCE3D1}"/>
              </a:ext>
            </a:extLst>
          </p:cNvPr>
          <p:cNvSpPr txBox="1"/>
          <p:nvPr/>
        </p:nvSpPr>
        <p:spPr>
          <a:xfrm>
            <a:off x="8175531" y="2663734"/>
            <a:ext cx="2075395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b="1">
                <a:ea typeface="+mn-lt"/>
                <a:cs typeface="+mn-lt"/>
              </a:rPr>
              <a:t>Airbnb Plus</a:t>
            </a:r>
            <a:endParaRPr lang="en-US" sz="2000" b="1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>
                <a:ea typeface="+mn-lt"/>
                <a:cs typeface="+mn-lt"/>
              </a:rPr>
              <a:t>Airbnb Luxe </a:t>
            </a:r>
            <a:endParaRPr lang="en-US" sz="2000" b="1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 err="1">
                <a:ea typeface="+mn-lt"/>
                <a:cs typeface="+mn-lt"/>
              </a:rPr>
              <a:t>Superhost</a:t>
            </a:r>
            <a:endParaRPr lang="en-US" sz="1600" b="1" err="1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B241C34-AC07-3E8E-4C69-3B4ABFFD3889}"/>
              </a:ext>
            </a:extLst>
          </p:cNvPr>
          <p:cNvSpPr txBox="1"/>
          <p:nvPr/>
        </p:nvSpPr>
        <p:spPr>
          <a:xfrm>
            <a:off x="8002158" y="5652526"/>
            <a:ext cx="2898281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b="1">
                <a:ea typeface="+mn-lt"/>
                <a:cs typeface="+mn-lt"/>
              </a:rPr>
              <a:t>Facilitating interactions </a:t>
            </a:r>
            <a:endParaRPr lang="en-US" sz="2000" b="1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>
                <a:ea typeface="+mn-lt"/>
                <a:cs typeface="+mn-lt"/>
              </a:rPr>
              <a:t>Promoting local tours</a:t>
            </a:r>
            <a:endParaRPr lang="en-US" sz="2000" b="1"/>
          </a:p>
        </p:txBody>
      </p:sp>
    </p:spTree>
    <p:extLst>
      <p:ext uri="{BB962C8B-B14F-4D97-AF65-F5344CB8AC3E}">
        <p14:creationId xmlns:p14="http://schemas.microsoft.com/office/powerpoint/2010/main" val="1987597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6C3F23F-911B-979B-FF06-8122353A2803}"/>
              </a:ext>
            </a:extLst>
          </p:cNvPr>
          <p:cNvSpPr/>
          <p:nvPr/>
        </p:nvSpPr>
        <p:spPr>
          <a:xfrm>
            <a:off x="509244" y="1995605"/>
            <a:ext cx="2397047" cy="30413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ED616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 defTabSz="713232">
              <a:spcAft>
                <a:spcPts val="600"/>
              </a:spcAft>
              <a:buFont typeface="Wingdings"/>
              <a:buChar char="v"/>
            </a:pPr>
            <a:endParaRPr lang="en-US" sz="1400" b="1">
              <a:solidFill>
                <a:srgbClr val="404040"/>
              </a:solidFill>
              <a:latin typeface="Circular"/>
              <a:cs typeface="Arial"/>
            </a:endParaRPr>
          </a:p>
          <a:p>
            <a:pPr marL="171450" indent="-171450" defTabSz="713232">
              <a:spcAft>
                <a:spcPts val="600"/>
              </a:spcAft>
              <a:buFont typeface="Wingdings"/>
              <a:buChar char="v"/>
            </a:pPr>
            <a:r>
              <a:rPr lang="en-US" sz="1400" b="1" kern="1200">
                <a:solidFill>
                  <a:srgbClr val="404040"/>
                </a:solidFill>
                <a:latin typeface="Circular"/>
                <a:ea typeface="+mn-ea"/>
                <a:cs typeface="Arial"/>
              </a:rPr>
              <a:t>Expanded affordable</a:t>
            </a:r>
            <a:br>
              <a:rPr lang="en-US" sz="1400" b="1">
                <a:latin typeface="Circular"/>
                <a:cs typeface="Arial"/>
              </a:rPr>
            </a:br>
            <a:r>
              <a:rPr lang="en-US" sz="1400" b="1" kern="1200">
                <a:solidFill>
                  <a:srgbClr val="404040"/>
                </a:solidFill>
                <a:latin typeface="Circular"/>
                <a:ea typeface="+mn-ea"/>
                <a:cs typeface="Arial"/>
              </a:rPr>
              <a:t>accommodation options​</a:t>
            </a:r>
            <a:br>
              <a:rPr lang="en-US" sz="1400" b="1">
                <a:latin typeface="Circular"/>
                <a:cs typeface="Arial"/>
              </a:rPr>
            </a:br>
            <a:endParaRPr lang="en-US" sz="1400" b="1"/>
          </a:p>
          <a:p>
            <a:pPr marL="171450" indent="-171450" defTabSz="713232">
              <a:spcAft>
                <a:spcPts val="600"/>
              </a:spcAft>
              <a:buFont typeface="Wingdings"/>
              <a:buChar char="v"/>
            </a:pPr>
            <a:r>
              <a:rPr lang="en-US" sz="1400" b="1" kern="1200">
                <a:solidFill>
                  <a:srgbClr val="404040"/>
                </a:solidFill>
                <a:latin typeface="Circular"/>
                <a:ea typeface="+mn-ea"/>
                <a:cs typeface="Arial"/>
              </a:rPr>
              <a:t>Cultural Exchange and Local Experience​</a:t>
            </a:r>
            <a:br>
              <a:rPr lang="en-US" sz="1400" b="1">
                <a:latin typeface="Circular"/>
                <a:cs typeface="Arial"/>
              </a:rPr>
            </a:br>
            <a:endParaRPr lang="en-US" sz="1400" b="1" kern="1200">
              <a:solidFill>
                <a:srgbClr val="404040"/>
              </a:solidFill>
              <a:latin typeface="Circular"/>
              <a:cs typeface="Arial"/>
            </a:endParaRPr>
          </a:p>
          <a:p>
            <a:pPr marL="171450" indent="-171450" defTabSz="713232">
              <a:spcAft>
                <a:spcPts val="600"/>
              </a:spcAft>
              <a:buFont typeface="Wingdings"/>
              <a:buChar char="v"/>
            </a:pPr>
            <a:r>
              <a:rPr lang="en-US" sz="1400" b="1" kern="1200">
                <a:solidFill>
                  <a:srgbClr val="404040"/>
                </a:solidFill>
                <a:latin typeface="Circular"/>
                <a:ea typeface="+mn-ea"/>
                <a:cs typeface="Arial"/>
              </a:rPr>
              <a:t>Enhanced Flexibility​</a:t>
            </a:r>
            <a:br>
              <a:rPr lang="en-US" sz="1400" b="1">
                <a:latin typeface="Circular"/>
                <a:cs typeface="Arial"/>
              </a:rPr>
            </a:br>
            <a:endParaRPr lang="en-US" sz="1400" b="1" kern="1200">
              <a:solidFill>
                <a:srgbClr val="404040"/>
              </a:solidFill>
              <a:latin typeface="Circular"/>
              <a:cs typeface="Arial"/>
            </a:endParaRPr>
          </a:p>
          <a:p>
            <a:pPr marL="171450" indent="-171450" defTabSz="713232">
              <a:spcAft>
                <a:spcPts val="600"/>
              </a:spcAft>
              <a:buFont typeface="Wingdings"/>
              <a:buChar char="v"/>
            </a:pPr>
            <a:r>
              <a:rPr lang="en-US" sz="1400" b="1" kern="1200">
                <a:solidFill>
                  <a:srgbClr val="404040"/>
                </a:solidFill>
                <a:latin typeface="Circular"/>
                <a:ea typeface="+mn-ea"/>
                <a:cs typeface="Arial"/>
              </a:rPr>
              <a:t>Unique Travel experience</a:t>
            </a:r>
            <a:endParaRPr lang="en-US" sz="1400" b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2895EAD-6A1B-2BDE-E5E3-BD5113F06937}"/>
              </a:ext>
            </a:extLst>
          </p:cNvPr>
          <p:cNvSpPr/>
          <p:nvPr/>
        </p:nvSpPr>
        <p:spPr>
          <a:xfrm>
            <a:off x="3494514" y="2681166"/>
            <a:ext cx="2333432" cy="265819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buFont typeface="Wingdings"/>
              <a:buChar char="v"/>
            </a:pPr>
            <a:endParaRPr lang="en-US" sz="1400">
              <a:solidFill>
                <a:srgbClr val="404040"/>
              </a:solidFill>
              <a:latin typeface="Circular"/>
              <a:cs typeface="Arial"/>
            </a:endParaRPr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cs typeface="Arial"/>
              </a:rPr>
              <a:t>Additional Income</a:t>
            </a:r>
            <a:br>
              <a:rPr lang="en-US" sz="1400" b="1">
                <a:latin typeface="Circular"/>
                <a:cs typeface="Arial"/>
              </a:rPr>
            </a:br>
            <a:endParaRPr lang="en-US" sz="1400" b="1"/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cs typeface="Arial"/>
              </a:rPr>
              <a:t>Flexibility &amp; Control</a:t>
            </a:r>
            <a:br>
              <a:rPr lang="en-US" sz="1400" b="1">
                <a:latin typeface="Circular"/>
                <a:cs typeface="Arial"/>
              </a:rPr>
            </a:br>
            <a:endParaRPr lang="en-US" sz="1400" b="1">
              <a:solidFill>
                <a:srgbClr val="404040"/>
              </a:solidFill>
              <a:latin typeface="Circular"/>
              <a:cs typeface="Arial"/>
            </a:endParaRPr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cs typeface="Arial"/>
              </a:rPr>
              <a:t>Global exposure and marketing</a:t>
            </a:r>
            <a:br>
              <a:rPr lang="en-US" sz="1400" b="1">
                <a:latin typeface="Circular"/>
                <a:cs typeface="Arial"/>
              </a:rPr>
            </a:br>
            <a:endParaRPr lang="en-US" sz="1400" b="1">
              <a:solidFill>
                <a:srgbClr val="404040"/>
              </a:solidFill>
              <a:latin typeface="Circular"/>
              <a:cs typeface="Arial"/>
            </a:endParaRPr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cs typeface="Arial"/>
              </a:rPr>
              <a:t>Safety &amp; Trust</a:t>
            </a:r>
            <a:br>
              <a:rPr lang="en-US" sz="1400" b="1">
                <a:latin typeface="Circular"/>
                <a:cs typeface="Arial"/>
              </a:rPr>
            </a:br>
            <a:endParaRPr lang="en-US" sz="1400" b="1">
              <a:solidFill>
                <a:srgbClr val="404040"/>
              </a:solidFill>
              <a:latin typeface="Circular"/>
              <a:cs typeface="Arial"/>
            </a:endParaRPr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cs typeface="Arial"/>
              </a:rPr>
              <a:t>Feedback &amp; Improvement</a:t>
            </a:r>
          </a:p>
          <a:p>
            <a:pPr algn="ctr"/>
            <a:endParaRPr lang="en-US"/>
          </a:p>
        </p:txBody>
      </p:sp>
      <p:sp>
        <p:nvSpPr>
          <p:cNvPr id="11" name="Ribbon: Curved and Tilted Up 10">
            <a:extLst>
              <a:ext uri="{FF2B5EF4-FFF2-40B4-BE49-F238E27FC236}">
                <a16:creationId xmlns:a16="http://schemas.microsoft.com/office/drawing/2014/main" id="{0C8D20ED-0340-8AF2-BCC8-57C87AC61D6D}"/>
              </a:ext>
            </a:extLst>
          </p:cNvPr>
          <p:cNvSpPr/>
          <p:nvPr/>
        </p:nvSpPr>
        <p:spPr>
          <a:xfrm>
            <a:off x="274471" y="5242127"/>
            <a:ext cx="2880527" cy="646443"/>
          </a:xfrm>
          <a:prstGeom prst="ellipseRibbon2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Guests</a:t>
            </a:r>
          </a:p>
        </p:txBody>
      </p:sp>
      <p:sp>
        <p:nvSpPr>
          <p:cNvPr id="13" name="Ribbon: Curved and Tilted Up 12">
            <a:extLst>
              <a:ext uri="{FF2B5EF4-FFF2-40B4-BE49-F238E27FC236}">
                <a16:creationId xmlns:a16="http://schemas.microsoft.com/office/drawing/2014/main" id="{6C8FA65B-5AED-8B62-F35F-ADE6DD12C5FA}"/>
              </a:ext>
            </a:extLst>
          </p:cNvPr>
          <p:cNvSpPr/>
          <p:nvPr/>
        </p:nvSpPr>
        <p:spPr>
          <a:xfrm>
            <a:off x="3156884" y="1826127"/>
            <a:ext cx="3002756" cy="670805"/>
          </a:xfrm>
          <a:prstGeom prst="ellipseRibbon2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Host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393552F-1D8E-043A-2BC6-FEA0DF7839BC}"/>
              </a:ext>
            </a:extLst>
          </p:cNvPr>
          <p:cNvSpPr/>
          <p:nvPr/>
        </p:nvSpPr>
        <p:spPr>
          <a:xfrm>
            <a:off x="6518599" y="1900514"/>
            <a:ext cx="2247011" cy="313145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Travel Stipend​</a:t>
            </a:r>
            <a:br>
              <a:rPr lang="en-US" sz="1400" b="1">
                <a:latin typeface="Circular"/>
                <a:ea typeface="Arial"/>
                <a:cs typeface="Arial"/>
              </a:rPr>
            </a:br>
            <a:endParaRPr lang="en-US" sz="1400" b="1"/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Impactful work​</a:t>
            </a:r>
            <a:br>
              <a:rPr lang="en-US" sz="1400" b="1">
                <a:latin typeface="Circular"/>
                <a:ea typeface="Arial"/>
                <a:cs typeface="Arial"/>
              </a:rPr>
            </a:br>
            <a:endParaRPr lang="en-US" sz="1400" b="1">
              <a:solidFill>
                <a:srgbClr val="404040"/>
              </a:solidFill>
              <a:latin typeface="Circular"/>
              <a:ea typeface="Arial"/>
              <a:cs typeface="Arial"/>
            </a:endParaRPr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Innovative offices​</a:t>
            </a:r>
            <a:br>
              <a:rPr lang="en-US" sz="1400" b="1">
                <a:latin typeface="Circular"/>
                <a:ea typeface="Arial"/>
                <a:cs typeface="Arial"/>
              </a:rPr>
            </a:br>
            <a:endParaRPr lang="en-US" sz="1400" b="1">
              <a:solidFill>
                <a:srgbClr val="404040"/>
              </a:solidFill>
              <a:latin typeface="Circular"/>
              <a:ea typeface="Arial"/>
              <a:cs typeface="Arial"/>
            </a:endParaRPr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Employee </a:t>
            </a:r>
            <a:br>
              <a:rPr lang="en-US" sz="1400" b="1">
                <a:latin typeface="Circular"/>
                <a:ea typeface="Arial"/>
                <a:cs typeface="Arial"/>
              </a:rPr>
            </a:b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engagement and recognition</a:t>
            </a:r>
            <a:endParaRPr lang="en-US" sz="1400" b="1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1538664-4E07-E376-4BA7-BEF6FFD36021}"/>
              </a:ext>
            </a:extLst>
          </p:cNvPr>
          <p:cNvSpPr/>
          <p:nvPr/>
        </p:nvSpPr>
        <p:spPr>
          <a:xfrm>
            <a:off x="9465696" y="2582350"/>
            <a:ext cx="2131947" cy="295516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buFont typeface="Wingdings"/>
              <a:buChar char="v"/>
            </a:pPr>
            <a:endParaRPr lang="en-US" sz="1400" b="1">
              <a:solidFill>
                <a:srgbClr val="404040"/>
              </a:solidFill>
              <a:latin typeface="Circular"/>
              <a:ea typeface="Arial"/>
              <a:cs typeface="Arial"/>
            </a:endParaRPr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Financial Performance​</a:t>
            </a:r>
            <a:br>
              <a:rPr lang="en-US" sz="1400" b="1">
                <a:latin typeface="Circular"/>
                <a:ea typeface="Arial"/>
                <a:cs typeface="Arial"/>
              </a:rPr>
            </a:br>
            <a:endParaRPr lang="en-US" sz="1400" b="1"/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Strategic partnerships</a:t>
            </a:r>
            <a:br>
              <a:rPr lang="en-US" sz="1400" b="1">
                <a:latin typeface="Circular"/>
                <a:ea typeface="Arial"/>
                <a:cs typeface="Arial"/>
              </a:rPr>
            </a:b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 &amp; acquisitions​</a:t>
            </a:r>
            <a:br>
              <a:rPr lang="en-US" sz="1400" b="1">
                <a:latin typeface="Circular"/>
                <a:ea typeface="Arial"/>
                <a:cs typeface="Arial"/>
              </a:rPr>
            </a:br>
            <a:endParaRPr lang="en-US" sz="1400" b="1">
              <a:solidFill>
                <a:srgbClr val="404040"/>
              </a:solidFill>
              <a:latin typeface="Circular"/>
              <a:ea typeface="Arial"/>
              <a:cs typeface="Arial"/>
            </a:endParaRPr>
          </a:p>
          <a:p>
            <a:pPr marL="171450" indent="-17145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Dividend and capital allocation​</a:t>
            </a:r>
            <a:br>
              <a:rPr lang="en-US" sz="1400" b="1">
                <a:latin typeface="Circular"/>
                <a:ea typeface="Arial"/>
                <a:cs typeface="Arial"/>
              </a:rPr>
            </a:br>
            <a:endParaRPr lang="en-US" sz="1400" b="1">
              <a:solidFill>
                <a:srgbClr val="404040"/>
              </a:solidFill>
              <a:latin typeface="Circular"/>
              <a:ea typeface="Arial"/>
              <a:cs typeface="Arial"/>
            </a:endParaRPr>
          </a:p>
          <a:p>
            <a:pPr marL="171450" lvl="0" indent="-171450" rtl="0">
              <a:buFont typeface="Wingdings"/>
              <a:buChar char="v"/>
            </a:pPr>
            <a:r>
              <a:rPr lang="en-US" sz="1400" b="1">
                <a:solidFill>
                  <a:srgbClr val="404040"/>
                </a:solidFill>
                <a:latin typeface="Circular"/>
                <a:ea typeface="Arial"/>
                <a:cs typeface="Arial"/>
              </a:rPr>
              <a:t>Developing local communities</a:t>
            </a:r>
            <a:endParaRPr lang="en-US" sz="1400" b="1"/>
          </a:p>
        </p:txBody>
      </p:sp>
      <p:sp>
        <p:nvSpPr>
          <p:cNvPr id="19" name="Ribbon: Curved and Tilted Up 18">
            <a:extLst>
              <a:ext uri="{FF2B5EF4-FFF2-40B4-BE49-F238E27FC236}">
                <a16:creationId xmlns:a16="http://schemas.microsoft.com/office/drawing/2014/main" id="{5B29E4AB-CAF1-47B4-69D2-D06EF06FFE92}"/>
              </a:ext>
            </a:extLst>
          </p:cNvPr>
          <p:cNvSpPr/>
          <p:nvPr/>
        </p:nvSpPr>
        <p:spPr>
          <a:xfrm>
            <a:off x="6297216" y="5283173"/>
            <a:ext cx="2730639" cy="621323"/>
          </a:xfrm>
          <a:prstGeom prst="ellipseRibbon2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Employees</a:t>
            </a:r>
          </a:p>
        </p:txBody>
      </p:sp>
      <p:sp>
        <p:nvSpPr>
          <p:cNvPr id="21" name="Ribbon: Curved and Tilted Up 20">
            <a:extLst>
              <a:ext uri="{FF2B5EF4-FFF2-40B4-BE49-F238E27FC236}">
                <a16:creationId xmlns:a16="http://schemas.microsoft.com/office/drawing/2014/main" id="{904BD3F0-8ABB-E344-02E7-362540D8C26F}"/>
              </a:ext>
            </a:extLst>
          </p:cNvPr>
          <p:cNvSpPr/>
          <p:nvPr/>
        </p:nvSpPr>
        <p:spPr>
          <a:xfrm>
            <a:off x="9023179" y="1708613"/>
            <a:ext cx="3007492" cy="746351"/>
          </a:xfrm>
          <a:prstGeom prst="ellipseRibbon2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Stakeholders</a:t>
            </a:r>
          </a:p>
        </p:txBody>
      </p:sp>
      <p:sp>
        <p:nvSpPr>
          <p:cNvPr id="23" name="Title 116">
            <a:extLst>
              <a:ext uri="{FF2B5EF4-FFF2-40B4-BE49-F238E27FC236}">
                <a16:creationId xmlns:a16="http://schemas.microsoft.com/office/drawing/2014/main" id="{BB1C6A60-D83A-0547-21CE-3D0258FDF4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7981" y="396722"/>
            <a:ext cx="10234537" cy="748780"/>
          </a:xfrm>
        </p:spPr>
        <p:txBody>
          <a:bodyPr/>
          <a:lstStyle/>
          <a:p>
            <a:r>
              <a:rPr lang="en-US" sz="3200"/>
              <a:t>VALUE CREATION</a:t>
            </a:r>
          </a:p>
        </p:txBody>
      </p:sp>
    </p:spTree>
    <p:extLst>
      <p:ext uri="{BB962C8B-B14F-4D97-AF65-F5344CB8AC3E}">
        <p14:creationId xmlns:p14="http://schemas.microsoft.com/office/powerpoint/2010/main" val="946760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925149" y="418356"/>
            <a:ext cx="10214484" cy="748780"/>
          </a:xfrm>
        </p:spPr>
        <p:txBody>
          <a:bodyPr/>
          <a:lstStyle/>
          <a:p>
            <a:r>
              <a:rPr lang="en-US" sz="3200">
                <a:solidFill>
                  <a:srgbClr val="FF5A5F"/>
                </a:solidFill>
                <a:ea typeface="+mj-lt"/>
                <a:cs typeface="+mj-lt"/>
              </a:rPr>
              <a:t>MARKET STRATEGY</a:t>
            </a:r>
            <a:endParaRPr lang="en-US" sz="32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B7AC7E5-A4D9-4B78-ADDD-2F914FBDD086}"/>
              </a:ext>
            </a:extLst>
          </p:cNvPr>
          <p:cNvGrpSpPr/>
          <p:nvPr/>
        </p:nvGrpSpPr>
        <p:grpSpPr>
          <a:xfrm>
            <a:off x="1164146" y="1792706"/>
            <a:ext cx="9914313" cy="4675975"/>
            <a:chOff x="1225510" y="2209555"/>
            <a:chExt cx="9491786" cy="3332263"/>
          </a:xfrm>
          <a:effectLst/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19720A0-D121-4DAA-A228-EA5F70A9B693}"/>
                </a:ext>
              </a:extLst>
            </p:cNvPr>
            <p:cNvGrpSpPr/>
            <p:nvPr/>
          </p:nvGrpSpPr>
          <p:grpSpPr>
            <a:xfrm>
              <a:off x="1225510" y="2209555"/>
              <a:ext cx="9491783" cy="1572736"/>
              <a:chOff x="1225510" y="2209555"/>
              <a:chExt cx="9491783" cy="1572736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688C156B-7758-48D4-8F22-6DC7E4FF2F18}"/>
                  </a:ext>
                </a:extLst>
              </p:cNvPr>
              <p:cNvSpPr/>
              <p:nvPr/>
            </p:nvSpPr>
            <p:spPr>
              <a:xfrm>
                <a:off x="1225510" y="2209555"/>
                <a:ext cx="2927015" cy="1572736"/>
              </a:xfrm>
              <a:prstGeom prst="roundRect">
                <a:avLst>
                  <a:gd name="adj" fmla="val 4888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203200" dist="38100" dir="2700000" sx="97000" sy="97000" algn="tl" rotWithShape="0">
                  <a:prstClr val="black">
                    <a:alpha val="4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63D58DFE-112B-492E-B693-8098C740B6A4}"/>
                  </a:ext>
                </a:extLst>
              </p:cNvPr>
              <p:cNvSpPr/>
              <p:nvPr/>
            </p:nvSpPr>
            <p:spPr>
              <a:xfrm>
                <a:off x="4563225" y="2209555"/>
                <a:ext cx="2747487" cy="1572736"/>
              </a:xfrm>
              <a:prstGeom prst="roundRect">
                <a:avLst>
                  <a:gd name="adj" fmla="val 4888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203200" dist="38100" dir="2700000" sx="97000" sy="97000" algn="tl" rotWithShape="0">
                  <a:prstClr val="black">
                    <a:alpha val="4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4B7C325B-3A14-4D25-9AA8-2AE82BE96148}"/>
                  </a:ext>
                </a:extLst>
              </p:cNvPr>
              <p:cNvSpPr/>
              <p:nvPr/>
            </p:nvSpPr>
            <p:spPr>
              <a:xfrm>
                <a:off x="7900939" y="2209555"/>
                <a:ext cx="2816354" cy="1572736"/>
              </a:xfrm>
              <a:prstGeom prst="roundRect">
                <a:avLst>
                  <a:gd name="adj" fmla="val 4888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203200" dist="38100" dir="2700000" sx="97000" sy="97000" algn="tl" rotWithShape="0">
                  <a:prstClr val="black">
                    <a:alpha val="4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2CDA4D3-EEF0-47BA-BD01-1DC0B7519F3C}"/>
                </a:ext>
              </a:extLst>
            </p:cNvPr>
            <p:cNvGrpSpPr/>
            <p:nvPr/>
          </p:nvGrpSpPr>
          <p:grpSpPr>
            <a:xfrm>
              <a:off x="1225510" y="3969082"/>
              <a:ext cx="9491786" cy="1572736"/>
              <a:chOff x="1225510" y="2209555"/>
              <a:chExt cx="9491786" cy="1572736"/>
            </a:xfrm>
          </p:grpSpPr>
          <p:sp>
            <p:nvSpPr>
              <p:cNvPr id="5" name="Rectangle: Rounded Corners 4">
                <a:extLst>
                  <a:ext uri="{FF2B5EF4-FFF2-40B4-BE49-F238E27FC236}">
                    <a16:creationId xmlns:a16="http://schemas.microsoft.com/office/drawing/2014/main" id="{4034CF63-D1C1-4591-9D1F-C9171C66321F}"/>
                  </a:ext>
                </a:extLst>
              </p:cNvPr>
              <p:cNvSpPr/>
              <p:nvPr/>
            </p:nvSpPr>
            <p:spPr>
              <a:xfrm>
                <a:off x="1225510" y="2209555"/>
                <a:ext cx="2927015" cy="1572736"/>
              </a:xfrm>
              <a:prstGeom prst="roundRect">
                <a:avLst>
                  <a:gd name="adj" fmla="val 4888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203200" dist="38100" dir="2700000" sx="97000" sy="97000" algn="tl" rotWithShape="0">
                  <a:prstClr val="black">
                    <a:alpha val="4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02EA6A16-83ED-4337-AC2F-D31F5848E850}"/>
                  </a:ext>
                </a:extLst>
              </p:cNvPr>
              <p:cNvSpPr/>
              <p:nvPr/>
            </p:nvSpPr>
            <p:spPr>
              <a:xfrm>
                <a:off x="4563225" y="2209555"/>
                <a:ext cx="2747487" cy="1572736"/>
              </a:xfrm>
              <a:prstGeom prst="roundRect">
                <a:avLst>
                  <a:gd name="adj" fmla="val 4888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203200" dist="38100" dir="2700000" sx="97000" sy="97000" algn="tl" rotWithShape="0">
                  <a:prstClr val="black">
                    <a:alpha val="4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3EB3F412-2A2C-4F78-9CAC-9B97B23F8971}"/>
                  </a:ext>
                </a:extLst>
              </p:cNvPr>
              <p:cNvSpPr/>
              <p:nvPr/>
            </p:nvSpPr>
            <p:spPr>
              <a:xfrm>
                <a:off x="7900940" y="2209555"/>
                <a:ext cx="2816356" cy="1572736"/>
              </a:xfrm>
              <a:prstGeom prst="roundRect">
                <a:avLst>
                  <a:gd name="adj" fmla="val 4888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203200" dist="38100" dir="2700000" sx="97000" sy="97000" algn="tl" rotWithShape="0">
                  <a:prstClr val="black">
                    <a:alpha val="4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E75777E-2E47-453F-ACBA-3EC4F88D9F16}"/>
              </a:ext>
            </a:extLst>
          </p:cNvPr>
          <p:cNvGrpSpPr/>
          <p:nvPr/>
        </p:nvGrpSpPr>
        <p:grpSpPr>
          <a:xfrm>
            <a:off x="1348917" y="3139219"/>
            <a:ext cx="9818426" cy="923797"/>
            <a:chOff x="-2145269" y="2466666"/>
            <a:chExt cx="9471931" cy="88987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6563069-6DA2-4266-8C94-C1092281803B}"/>
                </a:ext>
              </a:extLst>
            </p:cNvPr>
            <p:cNvSpPr/>
            <p:nvPr/>
          </p:nvSpPr>
          <p:spPr>
            <a:xfrm>
              <a:off x="-2145269" y="2467116"/>
              <a:ext cx="2786871" cy="88942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Segoe UI"/>
                  <a:cs typeface="Segoe UI"/>
                </a:rPr>
                <a:t>Conferences, events &amp; Strategic Partnerships</a:t>
              </a:r>
              <a:endParaRPr lang="en-US">
                <a:solidFill>
                  <a:schemeClr val="bg1"/>
                </a:solidFill>
                <a:latin typeface="Segoe UI"/>
                <a:cs typeface="Segoe UI"/>
              </a:endParaRPr>
            </a:p>
            <a:p>
              <a:pPr algn="ctr"/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F8C95A2-74DD-4E7C-8D05-8676429E1280}"/>
                </a:ext>
              </a:extLst>
            </p:cNvPr>
            <p:cNvSpPr/>
            <p:nvPr/>
          </p:nvSpPr>
          <p:spPr>
            <a:xfrm>
              <a:off x="809343" y="2629445"/>
              <a:ext cx="3314016" cy="35577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Segoe UI"/>
                  <a:cs typeface="Segoe UI"/>
                </a:rPr>
                <a:t>    Host &amp; Guest Experience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3324E96-0108-4366-AF47-CE30E954D49C}"/>
                </a:ext>
              </a:extLst>
            </p:cNvPr>
            <p:cNvSpPr/>
            <p:nvPr/>
          </p:nvSpPr>
          <p:spPr>
            <a:xfrm>
              <a:off x="4594498" y="2466666"/>
              <a:ext cx="2732164" cy="88942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Segoe UI"/>
                  <a:cs typeface="Segoe UI"/>
                </a:rPr>
                <a:t>Data-driven Approach</a:t>
              </a:r>
              <a:endParaRPr lang="en-US">
                <a:solidFill>
                  <a:schemeClr val="bg1"/>
                </a:solidFill>
                <a:latin typeface="Segoe UI"/>
                <a:cs typeface="Segoe UI"/>
              </a:endParaRPr>
            </a:p>
            <a:p>
              <a:r>
                <a:rPr lang="en-US" b="1">
                  <a:solidFill>
                    <a:schemeClr val="bg1"/>
                  </a:solidFill>
                  <a:latin typeface="Segoe UI"/>
                  <a:cs typeface="Segoe UI"/>
                </a:rPr>
                <a:t>For Personalization</a:t>
              </a:r>
              <a:endParaRPr lang="en-US">
                <a:solidFill>
                  <a:schemeClr val="bg1"/>
                </a:solidFill>
                <a:latin typeface="Segoe UI"/>
                <a:cs typeface="Segoe UI"/>
              </a:endParaRPr>
            </a:p>
            <a:p>
              <a:pPr algn="ctr"/>
              <a:endParaRPr lang="en-US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40E7482-5934-49CB-AECB-59F2403DD4F8}"/>
              </a:ext>
            </a:extLst>
          </p:cNvPr>
          <p:cNvGrpSpPr/>
          <p:nvPr/>
        </p:nvGrpSpPr>
        <p:grpSpPr>
          <a:xfrm>
            <a:off x="1537249" y="5711986"/>
            <a:ext cx="9592070" cy="1003245"/>
            <a:chOff x="2020956" y="1774797"/>
            <a:chExt cx="9592070" cy="100324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5D4ACDC-CA74-43D8-8ECB-DE484684FBD0}"/>
                </a:ext>
              </a:extLst>
            </p:cNvPr>
            <p:cNvSpPr/>
            <p:nvPr/>
          </p:nvSpPr>
          <p:spPr>
            <a:xfrm>
              <a:off x="2020956" y="1854712"/>
              <a:ext cx="2211567" cy="923330"/>
            </a:xfrm>
            <a:prstGeom prst="rect">
              <a:avLst/>
            </a:prstGeom>
          </p:spPr>
          <p:txBody>
            <a:bodyPr wrap="none" lIns="91440" tIns="45720" rIns="91440" bIns="45720" anchor="t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Segoe UI"/>
                  <a:cs typeface="Segoe UI"/>
                </a:rPr>
                <a:t>Competitor Data </a:t>
              </a:r>
              <a:endParaRPr lang="en-US">
                <a:solidFill>
                  <a:schemeClr val="bg1"/>
                </a:solidFill>
                <a:latin typeface="Segoe UI"/>
                <a:cs typeface="Segoe UI"/>
              </a:endParaRPr>
            </a:p>
            <a:p>
              <a:r>
                <a:rPr lang="en-US" b="1">
                  <a:solidFill>
                    <a:schemeClr val="bg1"/>
                  </a:solidFill>
                  <a:latin typeface="Segoe UI"/>
                  <a:cs typeface="Segoe UI"/>
                </a:rPr>
                <a:t>Analysis - </a:t>
              </a:r>
              <a:r>
                <a:rPr lang="en-US" b="1" err="1">
                  <a:solidFill>
                    <a:schemeClr val="bg1"/>
                  </a:solidFill>
                  <a:latin typeface="Segoe UI"/>
                  <a:cs typeface="Segoe UI"/>
                </a:rPr>
                <a:t>Craiglist</a:t>
              </a:r>
              <a:endParaRPr lang="en-US">
                <a:solidFill>
                  <a:schemeClr val="bg1"/>
                </a:solidFill>
                <a:latin typeface="Segoe UI"/>
                <a:cs typeface="Segoe UI"/>
              </a:endParaRPr>
            </a:p>
            <a:p>
              <a:pPr algn="ctr"/>
              <a:endParaRPr lang="en-US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67E8C86-A357-4675-8B23-4BFE02784287}"/>
                </a:ext>
              </a:extLst>
            </p:cNvPr>
            <p:cNvSpPr/>
            <p:nvPr/>
          </p:nvSpPr>
          <p:spPr>
            <a:xfrm>
              <a:off x="5284847" y="1777526"/>
              <a:ext cx="2635465" cy="923330"/>
            </a:xfrm>
            <a:prstGeom prst="rect">
              <a:avLst/>
            </a:prstGeom>
          </p:spPr>
          <p:txBody>
            <a:bodyPr wrap="none" lIns="91440" tIns="45720" rIns="91440" bIns="45720" anchor="t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Segoe UI"/>
                  <a:cs typeface="Segoe UI"/>
                </a:rPr>
                <a:t>Better Digital Content </a:t>
              </a:r>
              <a:endParaRPr lang="en-US">
                <a:solidFill>
                  <a:schemeClr val="bg1"/>
                </a:solidFill>
                <a:latin typeface="Segoe UI"/>
                <a:cs typeface="Segoe UI"/>
              </a:endParaRPr>
            </a:p>
            <a:p>
              <a:r>
                <a:rPr lang="en-US" b="1">
                  <a:solidFill>
                    <a:schemeClr val="bg1"/>
                  </a:solidFill>
                  <a:latin typeface="Segoe UI"/>
                  <a:cs typeface="Segoe UI"/>
                </a:rPr>
                <a:t>-Photos, virtual tours</a:t>
              </a:r>
              <a:endParaRPr lang="en-US">
                <a:solidFill>
                  <a:schemeClr val="bg1"/>
                </a:solidFill>
                <a:latin typeface="Segoe UI"/>
                <a:cs typeface="Segoe UI"/>
              </a:endParaRPr>
            </a:p>
            <a:p>
              <a:pPr algn="ctr"/>
              <a:endParaRPr lang="en-US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3E4FE84-51A5-452A-A734-9F3722E67829}"/>
                </a:ext>
              </a:extLst>
            </p:cNvPr>
            <p:cNvSpPr/>
            <p:nvPr/>
          </p:nvSpPr>
          <p:spPr>
            <a:xfrm>
              <a:off x="8671302" y="1774797"/>
              <a:ext cx="2941724" cy="92333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Segoe UI"/>
                  <a:cs typeface="Segoe UI"/>
                </a:rPr>
                <a:t>Global Expansion with focus on Localization</a:t>
              </a:r>
            </a:p>
            <a:p>
              <a:pPr algn="ctr"/>
              <a:endParaRPr lang="en-US" b="1">
                <a:solidFill>
                  <a:schemeClr val="bg1"/>
                </a:solidFill>
              </a:endParaRPr>
            </a:p>
          </p:txBody>
        </p:sp>
      </p:grpSp>
      <p:pic>
        <p:nvPicPr>
          <p:cNvPr id="22" name="Picture 26" descr="A picture containing icon&#10;&#10;Description automatically generated">
            <a:extLst>
              <a:ext uri="{FF2B5EF4-FFF2-40B4-BE49-F238E27FC236}">
                <a16:creationId xmlns:a16="http://schemas.microsoft.com/office/drawing/2014/main" id="{FFD515F3-63C7-8D63-757A-67793741F2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440" y="2016760"/>
            <a:ext cx="1016000" cy="1016000"/>
          </a:xfrm>
          <a:prstGeom prst="rect">
            <a:avLst/>
          </a:prstGeom>
        </p:spPr>
      </p:pic>
      <p:pic>
        <p:nvPicPr>
          <p:cNvPr id="27" name="Picture 27" descr="A picture containing scorpion, linedrawing&#10;&#10;Description automatically generated">
            <a:extLst>
              <a:ext uri="{FF2B5EF4-FFF2-40B4-BE49-F238E27FC236}">
                <a16:creationId xmlns:a16="http://schemas.microsoft.com/office/drawing/2014/main" id="{0B0E3417-8773-E994-594F-8B0D31BF8C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7680" y="2067560"/>
            <a:ext cx="985520" cy="1016000"/>
          </a:xfrm>
          <a:prstGeom prst="rect">
            <a:avLst/>
          </a:prstGeom>
        </p:spPr>
      </p:pic>
      <p:pic>
        <p:nvPicPr>
          <p:cNvPr id="28" name="Picture 28" descr="Icon&#10;&#10;Description automatically generated">
            <a:extLst>
              <a:ext uri="{FF2B5EF4-FFF2-40B4-BE49-F238E27FC236}">
                <a16:creationId xmlns:a16="http://schemas.microsoft.com/office/drawing/2014/main" id="{852D5F02-4C07-0E20-F7B3-7C05CC84C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2240" y="2067560"/>
            <a:ext cx="1036320" cy="1016000"/>
          </a:xfrm>
          <a:prstGeom prst="rect">
            <a:avLst/>
          </a:prstGeom>
        </p:spPr>
      </p:pic>
      <p:pic>
        <p:nvPicPr>
          <p:cNvPr id="29" name="Picture 30" descr="Diagram&#10;&#10;Description automatically generated">
            <a:extLst>
              <a:ext uri="{FF2B5EF4-FFF2-40B4-BE49-F238E27FC236}">
                <a16:creationId xmlns:a16="http://schemas.microsoft.com/office/drawing/2014/main" id="{4715599C-8462-033F-F93E-24E0D2562F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5030" y="4544060"/>
            <a:ext cx="993140" cy="1112520"/>
          </a:xfrm>
          <a:prstGeom prst="rect">
            <a:avLst/>
          </a:prstGeom>
        </p:spPr>
      </p:pic>
      <p:pic>
        <p:nvPicPr>
          <p:cNvPr id="31" name="Picture 32" descr="Icon&#10;&#10;Description automatically generated">
            <a:extLst>
              <a:ext uri="{FF2B5EF4-FFF2-40B4-BE49-F238E27FC236}">
                <a16:creationId xmlns:a16="http://schemas.microsoft.com/office/drawing/2014/main" id="{3885E831-0475-4AE5-A651-4E44C002D0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8150" y="4544060"/>
            <a:ext cx="982980" cy="1061720"/>
          </a:xfrm>
          <a:prstGeom prst="rect">
            <a:avLst/>
          </a:prstGeom>
        </p:spPr>
      </p:pic>
      <p:pic>
        <p:nvPicPr>
          <p:cNvPr id="33" name="Picture 34" descr="A picture containing athletic game, sport, basketball&#10;&#10;Description automatically generated">
            <a:extLst>
              <a:ext uri="{FF2B5EF4-FFF2-40B4-BE49-F238E27FC236}">
                <a16:creationId xmlns:a16="http://schemas.microsoft.com/office/drawing/2014/main" id="{40B73A0C-20B3-7675-15AA-ABA4EF573D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33840" y="4587240"/>
            <a:ext cx="100584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986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96417C-CE3A-E242-0E39-A1FCB9C8F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8758" y="411945"/>
            <a:ext cx="10214484" cy="748780"/>
          </a:xfrm>
        </p:spPr>
        <p:txBody>
          <a:bodyPr/>
          <a:lstStyle/>
          <a:p>
            <a:r>
              <a:rPr lang="en-US" sz="3200"/>
              <a:t>MARKET TYP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06149E-7B07-0F45-B126-B5165A143405}"/>
              </a:ext>
            </a:extLst>
          </p:cNvPr>
          <p:cNvSpPr txBox="1"/>
          <p:nvPr/>
        </p:nvSpPr>
        <p:spPr>
          <a:xfrm>
            <a:off x="745611" y="1906046"/>
            <a:ext cx="3176747" cy="288078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400" b="1">
                <a:solidFill>
                  <a:srgbClr val="ED6161"/>
                </a:solidFill>
                <a:latin typeface="Circular"/>
              </a:rPr>
              <a:t>New Market</a:t>
            </a:r>
          </a:p>
          <a:p>
            <a:endParaRPr lang="en-US" b="1"/>
          </a:p>
          <a:p>
            <a:pPr marL="285750" indent="-285750">
              <a:buFont typeface="Wingdings"/>
              <a:buChar char="q"/>
            </a:pPr>
            <a:r>
              <a:rPr lang="en-US"/>
              <a:t>Created a </a:t>
            </a:r>
            <a:r>
              <a:rPr lang="en-US" b="1"/>
              <a:t>new market</a:t>
            </a:r>
            <a:r>
              <a:rPr lang="en-US"/>
              <a:t> for peer-to-peer home sharing</a:t>
            </a:r>
          </a:p>
          <a:p>
            <a:endParaRPr lang="en-US"/>
          </a:p>
          <a:p>
            <a:pPr marL="285750" indent="-285750">
              <a:buFont typeface="Wingdings"/>
              <a:buChar char="q"/>
            </a:pPr>
            <a:r>
              <a:rPr lang="en-US"/>
              <a:t>Affordability</a:t>
            </a:r>
          </a:p>
          <a:p>
            <a:pPr marL="285750" indent="-285750">
              <a:buFont typeface="Wingdings"/>
              <a:buChar char="q"/>
            </a:pPr>
            <a:endParaRPr lang="en-US"/>
          </a:p>
          <a:p>
            <a:pPr marL="285750" indent="-285750">
              <a:buFont typeface="Wingdings"/>
              <a:buChar char="q"/>
            </a:pPr>
            <a:r>
              <a:rPr lang="en-US"/>
              <a:t>Major Categories – Shared Rooms, Private Rooms, Apartments and  Hotels 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3E4FC2-AE16-6430-7D94-FA7848CA354B}"/>
              </a:ext>
            </a:extLst>
          </p:cNvPr>
          <p:cNvSpPr txBox="1"/>
          <p:nvPr/>
        </p:nvSpPr>
        <p:spPr>
          <a:xfrm>
            <a:off x="4520901" y="1723164"/>
            <a:ext cx="3477260" cy="39989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400" b="1">
                <a:solidFill>
                  <a:srgbClr val="ED6161"/>
                </a:solidFill>
                <a:latin typeface="Circular"/>
              </a:rPr>
              <a:t>Exponential Market</a:t>
            </a:r>
            <a:endParaRPr lang="en-US"/>
          </a:p>
          <a:p>
            <a:endParaRPr lang="en-US" b="1"/>
          </a:p>
          <a:p>
            <a:pPr marL="285750" indent="-285750">
              <a:buFont typeface="Wingdings"/>
              <a:buChar char="q"/>
            </a:pPr>
            <a:r>
              <a:rPr lang="en-US" b="1"/>
              <a:t>Exponential</a:t>
            </a:r>
            <a:r>
              <a:rPr lang="en-US"/>
              <a:t> growth from a mattress renting business to </a:t>
            </a:r>
            <a:r>
              <a:rPr lang="en-US" b="1"/>
              <a:t>$78 billion</a:t>
            </a:r>
            <a:r>
              <a:rPr lang="en-US"/>
              <a:t> market cap </a:t>
            </a:r>
          </a:p>
          <a:p>
            <a:endParaRPr lang="en-US"/>
          </a:p>
          <a:p>
            <a:pPr marL="285750" indent="-285750">
              <a:buFont typeface="Wingdings"/>
              <a:buChar char="q"/>
            </a:pPr>
            <a:r>
              <a:rPr lang="en-US" b="1"/>
              <a:t>Gross Booking Value </a:t>
            </a:r>
            <a:r>
              <a:rPr lang="en-US" sz="1600" b="1"/>
              <a:t>(</a:t>
            </a:r>
            <a:r>
              <a:rPr lang="en-US" sz="1600" b="1" err="1"/>
              <a:t>mn</a:t>
            </a:r>
            <a:r>
              <a:rPr lang="en-US" sz="1600" b="1"/>
              <a:t> $)</a:t>
            </a:r>
          </a:p>
          <a:p>
            <a:pPr marL="742950" lvl="1" indent="-285750">
              <a:buFont typeface="Wingdings"/>
              <a:buChar char="ü"/>
            </a:pPr>
            <a:r>
              <a:rPr lang="en-US"/>
              <a:t>$ 8,057 in 2015</a:t>
            </a:r>
          </a:p>
          <a:p>
            <a:pPr marL="742950" lvl="1" indent="-285750">
              <a:buFont typeface="Wingdings"/>
              <a:buChar char="ü"/>
            </a:pPr>
            <a:r>
              <a:rPr lang="en-US"/>
              <a:t>$ 63,212 in 2022</a:t>
            </a:r>
          </a:p>
          <a:p>
            <a:pPr marL="285750" indent="-285750">
              <a:buFont typeface="Wingdings"/>
              <a:buChar char="q"/>
            </a:pPr>
            <a:endParaRPr lang="en-US"/>
          </a:p>
          <a:p>
            <a:pPr marL="285750" indent="-285750">
              <a:buFont typeface="Wingdings"/>
              <a:buChar char="q"/>
            </a:pPr>
            <a:r>
              <a:rPr lang="en-US"/>
              <a:t>Expanded in </a:t>
            </a:r>
            <a:r>
              <a:rPr lang="en-US" b="1"/>
              <a:t>220</a:t>
            </a:r>
            <a:r>
              <a:rPr lang="en-US"/>
              <a:t> countries capturing </a:t>
            </a:r>
            <a:r>
              <a:rPr lang="en-US" b="1"/>
              <a:t>26%</a:t>
            </a:r>
            <a:r>
              <a:rPr lang="en-US"/>
              <a:t> of the market in the lodging industry</a:t>
            </a:r>
          </a:p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C16620-924E-D066-EDF3-F3CB7EA3A535}"/>
              </a:ext>
            </a:extLst>
          </p:cNvPr>
          <p:cNvSpPr txBox="1"/>
          <p:nvPr/>
        </p:nvSpPr>
        <p:spPr>
          <a:xfrm>
            <a:off x="8470294" y="1902070"/>
            <a:ext cx="3359627" cy="34532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400" b="1">
                <a:solidFill>
                  <a:srgbClr val="ED6161"/>
                </a:solidFill>
                <a:latin typeface="Circular"/>
              </a:rPr>
              <a:t>Adjacent Market</a:t>
            </a:r>
          </a:p>
          <a:p>
            <a:pPr algn="ctr">
              <a:lnSpc>
                <a:spcPct val="80000"/>
              </a:lnSpc>
            </a:pPr>
            <a:endParaRPr lang="en-US" sz="2400" b="1">
              <a:solidFill>
                <a:srgbClr val="ED6161"/>
              </a:solidFill>
              <a:latin typeface="Circular"/>
            </a:endParaRPr>
          </a:p>
          <a:p>
            <a:pPr marL="285750" indent="-285750">
              <a:buFont typeface="Wingdings"/>
              <a:buChar char="q"/>
            </a:pPr>
            <a:r>
              <a:rPr lang="en-US"/>
              <a:t> Launched </a:t>
            </a:r>
            <a:r>
              <a:rPr lang="en-US" b="1"/>
              <a:t>'Experiences' </a:t>
            </a:r>
            <a:r>
              <a:rPr lang="en-US"/>
              <a:t>in 2016 </a:t>
            </a:r>
          </a:p>
          <a:p>
            <a:pPr marL="285750" indent="-285750">
              <a:buFont typeface="Wingdings"/>
              <a:buChar char="q"/>
            </a:pPr>
            <a:endParaRPr lang="en-US"/>
          </a:p>
          <a:p>
            <a:pPr marL="285750" indent="-285750">
              <a:buFont typeface="Wingdings"/>
              <a:buChar char="q"/>
            </a:pPr>
            <a:r>
              <a:rPr lang="en-US"/>
              <a:t>Competitive &amp; challenging</a:t>
            </a:r>
          </a:p>
          <a:p>
            <a:pPr marL="285750" indent="-285750">
              <a:buFont typeface="Wingdings"/>
              <a:buChar char="q"/>
            </a:pPr>
            <a:endParaRPr lang="en-US"/>
          </a:p>
          <a:p>
            <a:pPr marL="285750" indent="-285750">
              <a:buFont typeface="Wingdings"/>
              <a:buChar char="q"/>
            </a:pPr>
            <a:r>
              <a:rPr lang="en-US"/>
              <a:t>Future scope</a:t>
            </a:r>
          </a:p>
          <a:p>
            <a:pPr marL="742950" lvl="1" indent="-285750">
              <a:buFont typeface="Wingdings"/>
              <a:buChar char="ü"/>
            </a:pPr>
            <a:r>
              <a:rPr lang="en-US"/>
              <a:t>Complete Itinerary</a:t>
            </a:r>
          </a:p>
          <a:p>
            <a:pPr marL="742950" lvl="1" indent="-285750">
              <a:buFont typeface="Wingdings"/>
              <a:buChar char="ü"/>
            </a:pPr>
            <a:r>
              <a:rPr lang="en-US"/>
              <a:t>Rental Cars</a:t>
            </a:r>
          </a:p>
          <a:p>
            <a:pPr marL="742950" lvl="1" indent="-285750">
              <a:buFont typeface="Wingdings"/>
              <a:buChar char="ü"/>
            </a:pPr>
            <a:r>
              <a:rPr lang="en-US"/>
              <a:t>Food Delivery</a:t>
            </a:r>
          </a:p>
          <a:p>
            <a:pPr marL="742950" lvl="1" indent="-285750">
              <a:buFont typeface="Wingdings"/>
              <a:buChar char="ü"/>
            </a:pPr>
            <a:r>
              <a:rPr lang="en-US"/>
              <a:t>Flights 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3A7290E-A682-0F01-73BA-E83E8A4BE679}"/>
              </a:ext>
            </a:extLst>
          </p:cNvPr>
          <p:cNvSpPr/>
          <p:nvPr/>
        </p:nvSpPr>
        <p:spPr>
          <a:xfrm>
            <a:off x="743473" y="1639794"/>
            <a:ext cx="3261360" cy="4074160"/>
          </a:xfrm>
          <a:prstGeom prst="rect">
            <a:avLst/>
          </a:prstGeom>
          <a:noFill/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63CB1CD-75DC-144D-EFC7-600BF822463C}"/>
              </a:ext>
            </a:extLst>
          </p:cNvPr>
          <p:cNvSpPr/>
          <p:nvPr/>
        </p:nvSpPr>
        <p:spPr>
          <a:xfrm>
            <a:off x="4520452" y="1639794"/>
            <a:ext cx="3393440" cy="4074160"/>
          </a:xfrm>
          <a:prstGeom prst="rect">
            <a:avLst/>
          </a:prstGeom>
          <a:noFill/>
          <a:ln w="57150">
            <a:solidFill>
              <a:srgbClr val="ED616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C74CE7-A004-13EA-0426-F492F6262D09}"/>
              </a:ext>
            </a:extLst>
          </p:cNvPr>
          <p:cNvSpPr/>
          <p:nvPr/>
        </p:nvSpPr>
        <p:spPr>
          <a:xfrm>
            <a:off x="8430259" y="1639794"/>
            <a:ext cx="3393440" cy="4074160"/>
          </a:xfrm>
          <a:prstGeom prst="rect">
            <a:avLst/>
          </a:prstGeom>
          <a:noFill/>
          <a:ln w="57150">
            <a:solidFill>
              <a:srgbClr val="ED616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5887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6D76060-5AC9-A5B4-6B54-5633FF896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rgbClr val="FFFFFF"/>
                </a:solidFill>
              </a:rPr>
              <a:t>presentationstemplate.com</a:t>
            </a:r>
          </a:p>
        </p:txBody>
      </p:sp>
      <p:pic>
        <p:nvPicPr>
          <p:cNvPr id="5" name="Picture 5" descr="A graph of growth and numbers&#10;&#10;Description automatically generated">
            <a:extLst>
              <a:ext uri="{FF2B5EF4-FFF2-40B4-BE49-F238E27FC236}">
                <a16:creationId xmlns:a16="http://schemas.microsoft.com/office/drawing/2014/main" id="{BDAFC72A-7AD8-9763-82F1-FE03EDA6F1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150" y="1281536"/>
            <a:ext cx="6937371" cy="5444479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DBC969F-846D-41EF-63D4-B0554BEBEBE2}"/>
              </a:ext>
            </a:extLst>
          </p:cNvPr>
          <p:cNvSpPr txBox="1"/>
          <p:nvPr/>
        </p:nvSpPr>
        <p:spPr>
          <a:xfrm>
            <a:off x="2504368" y="48375"/>
            <a:ext cx="7188129" cy="830997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4800" b="1">
                <a:solidFill>
                  <a:schemeClr val="accent1"/>
                </a:solidFill>
                <a:latin typeface="Circular"/>
              </a:rPr>
              <a:t> </a:t>
            </a:r>
            <a:r>
              <a:rPr lang="en-GB" sz="3200" b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FINANCIALS</a:t>
            </a:r>
            <a:endParaRPr lang="en-US">
              <a:solidFill>
                <a:schemeClr val="accent1"/>
              </a:solidFill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A29C99-2C44-397C-7CA8-6E0FCA02F756}"/>
              </a:ext>
            </a:extLst>
          </p:cNvPr>
          <p:cNvSpPr txBox="1"/>
          <p:nvPr/>
        </p:nvSpPr>
        <p:spPr>
          <a:xfrm>
            <a:off x="8299358" y="1278871"/>
            <a:ext cx="3442304" cy="45858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endParaRPr lang="en-GB"/>
          </a:p>
          <a:p>
            <a:pPr marL="285750" indent="-285750">
              <a:buFont typeface="Arial"/>
              <a:buChar char="•"/>
            </a:pPr>
            <a:r>
              <a:rPr lang="en-GB" sz="1600" b="1"/>
              <a:t>Revenue Growth shows the CAGR of 31.36%</a:t>
            </a:r>
          </a:p>
          <a:p>
            <a:pPr marL="285750" indent="-285750">
              <a:buFont typeface="Arial"/>
              <a:buChar char="•"/>
            </a:pPr>
            <a:endParaRPr lang="en-GB" sz="1600" b="1"/>
          </a:p>
          <a:p>
            <a:pPr marL="285750" indent="-285750">
              <a:buFont typeface="Arial"/>
              <a:buChar char="•"/>
            </a:pPr>
            <a:r>
              <a:rPr lang="en-GB" sz="1600" b="1"/>
              <a:t>Gross booking value shows CAGR of 29.36%</a:t>
            </a:r>
          </a:p>
          <a:p>
            <a:pPr marL="285750" indent="-285750">
              <a:buFont typeface="Arial"/>
              <a:buChar char="•"/>
            </a:pPr>
            <a:endParaRPr lang="en-GB" sz="1600" b="1"/>
          </a:p>
          <a:p>
            <a:pPr marL="285750" indent="-285750">
              <a:buFont typeface="Arial"/>
              <a:buChar char="•"/>
            </a:pPr>
            <a:r>
              <a:rPr lang="en-GB" sz="1600" b="1"/>
              <a:t>Annual Nights booked Shows 23.67%</a:t>
            </a:r>
          </a:p>
          <a:p>
            <a:pPr marL="285750" indent="-285750">
              <a:buFont typeface="Arial"/>
              <a:buChar char="•"/>
            </a:pPr>
            <a:endParaRPr lang="en-GB" sz="1600" b="1"/>
          </a:p>
          <a:p>
            <a:pPr marL="285750" indent="-285750">
              <a:buFont typeface="Arial"/>
              <a:buChar char="•"/>
            </a:pPr>
            <a:r>
              <a:rPr lang="en-GB" sz="1600" b="1"/>
              <a:t>For the year 2022 ,The Audited balance sheet shows total Asset of $16,083 Million on which ROI comes to 11.8%.</a:t>
            </a:r>
          </a:p>
          <a:p>
            <a:pPr marL="285750" indent="-285750">
              <a:buFont typeface="Arial"/>
              <a:buChar char="•"/>
            </a:pPr>
            <a:endParaRPr lang="en-GB" sz="1600" b="1"/>
          </a:p>
          <a:p>
            <a:pPr marL="285750" indent="-285750">
              <a:buFont typeface="Arial"/>
              <a:buChar char="•"/>
            </a:pPr>
            <a:r>
              <a:rPr lang="en-GB" sz="1600" b="1"/>
              <a:t>In 2022, Company Reported first time profit After getting listed.</a:t>
            </a:r>
          </a:p>
          <a:p>
            <a:pPr marL="285750" indent="-285750">
              <a:buFont typeface="Calibri"/>
              <a:buChar char="-"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11446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C495CC-1E35-2A04-9F7C-C337C2839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8758" y="344710"/>
            <a:ext cx="10214484" cy="748780"/>
          </a:xfrm>
        </p:spPr>
        <p:txBody>
          <a:bodyPr/>
          <a:lstStyle/>
          <a:p>
            <a:r>
              <a:rPr lang="en-GB" b="0">
                <a:solidFill>
                  <a:srgbClr val="ED6161"/>
                </a:solidFill>
              </a:rPr>
              <a:t> </a:t>
            </a:r>
            <a:r>
              <a:rPr lang="en-GB" sz="3200">
                <a:solidFill>
                  <a:srgbClr val="ED6161"/>
                </a:solidFill>
              </a:rPr>
              <a:t>COMPETITORS</a:t>
            </a:r>
            <a:endParaRPr lang="en-US" sz="3200"/>
          </a:p>
        </p:txBody>
      </p:sp>
      <p:graphicFrame>
        <p:nvGraphicFramePr>
          <p:cNvPr id="444" name="Diagram 444">
            <a:extLst>
              <a:ext uri="{FF2B5EF4-FFF2-40B4-BE49-F238E27FC236}">
                <a16:creationId xmlns:a16="http://schemas.microsoft.com/office/drawing/2014/main" id="{7E7FCB5E-1A5C-4606-5A7D-7451253CB8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3516798"/>
              </p:ext>
            </p:extLst>
          </p:nvPr>
        </p:nvGraphicFramePr>
        <p:xfrm>
          <a:off x="1328041" y="1676041"/>
          <a:ext cx="2602334" cy="39991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86" name="Picture 78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01AF728-BD95-44BE-FEB8-22441182CD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00403" y="3340525"/>
            <a:ext cx="1894781" cy="576550"/>
          </a:xfrm>
          <a:prstGeom prst="rect">
            <a:avLst/>
          </a:prstGeom>
        </p:spPr>
      </p:pic>
      <p:pic>
        <p:nvPicPr>
          <p:cNvPr id="1218" name="Picture 1218" descr="Icon&#10;&#10;Description automatically generated">
            <a:extLst>
              <a:ext uri="{FF2B5EF4-FFF2-40B4-BE49-F238E27FC236}">
                <a16:creationId xmlns:a16="http://schemas.microsoft.com/office/drawing/2014/main" id="{86845440-EE9F-42E6-591C-1828AB0AA3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90010" y="2511649"/>
            <a:ext cx="7048003" cy="647168"/>
          </a:xfrm>
          <a:prstGeom prst="rect">
            <a:avLst/>
          </a:prstGeom>
        </p:spPr>
      </p:pic>
      <p:pic>
        <p:nvPicPr>
          <p:cNvPr id="1219" name="Picture 121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A0C8273-83B7-A5DA-794D-5E2EA6C18B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40530" y="1679241"/>
            <a:ext cx="6137563" cy="649440"/>
          </a:xfrm>
          <a:prstGeom prst="rect">
            <a:avLst/>
          </a:prstGeom>
        </p:spPr>
      </p:pic>
      <p:pic>
        <p:nvPicPr>
          <p:cNvPr id="1221" name="Picture 1221">
            <a:extLst>
              <a:ext uri="{FF2B5EF4-FFF2-40B4-BE49-F238E27FC236}">
                <a16:creationId xmlns:a16="http://schemas.microsoft.com/office/drawing/2014/main" id="{3359A3A3-8FB4-F373-5364-73C35774209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59283" y="4923691"/>
            <a:ext cx="6157355" cy="662281"/>
          </a:xfrm>
          <a:prstGeom prst="rect">
            <a:avLst/>
          </a:prstGeom>
        </p:spPr>
      </p:pic>
      <p:pic>
        <p:nvPicPr>
          <p:cNvPr id="1266" name="Picture 1266" descr="A picture containing logo&#10;&#10;Description automatically generated">
            <a:extLst>
              <a:ext uri="{FF2B5EF4-FFF2-40B4-BE49-F238E27FC236}">
                <a16:creationId xmlns:a16="http://schemas.microsoft.com/office/drawing/2014/main" id="{E8F859EE-A2CE-3E5D-5454-5799C332F1E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90010" y="4010460"/>
            <a:ext cx="4613563" cy="7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8881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AD8C5C-24ED-7E89-D253-D76A92147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stemplate.co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2BFC8B-13AC-C078-CE28-216AB624D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91052-A62B-43CA-9575-0BC7146249E0}" type="slidenum">
              <a:rPr lang="en-US" smtClean="0"/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CF0DCE-02EB-8E88-80E4-157BE5B8D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8405" y="647269"/>
            <a:ext cx="10214484" cy="748780"/>
          </a:xfrm>
        </p:spPr>
        <p:txBody>
          <a:bodyPr/>
          <a:lstStyle/>
          <a:p>
            <a:r>
              <a:rPr lang="en-GB" sz="3200">
                <a:ea typeface="+mj-lt"/>
                <a:cs typeface="+mj-lt"/>
              </a:rPr>
              <a:t>COMPARING REVENUE</a:t>
            </a:r>
            <a:endParaRPr lang="en-GB" sz="3200" b="0">
              <a:ea typeface="+mj-lt"/>
              <a:cs typeface="+mj-lt"/>
            </a:endParaRPr>
          </a:p>
          <a:p>
            <a:endParaRPr lang="en-GB"/>
          </a:p>
        </p:txBody>
      </p:sp>
      <p:pic>
        <p:nvPicPr>
          <p:cNvPr id="8" name="Picture 8" descr="A screenshot of a graph&#10;&#10;Description automatically generated">
            <a:extLst>
              <a:ext uri="{FF2B5EF4-FFF2-40B4-BE49-F238E27FC236}">
                <a16:creationId xmlns:a16="http://schemas.microsoft.com/office/drawing/2014/main" id="{A1A5FCF6-D958-DB27-2B0B-2AF9F77040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0929" y="1018090"/>
            <a:ext cx="9959789" cy="559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5524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Title 116"/>
          <p:cNvSpPr>
            <a:spLocks noGrp="1"/>
          </p:cNvSpPr>
          <p:nvPr>
            <p:ph type="title"/>
          </p:nvPr>
        </p:nvSpPr>
        <p:spPr>
          <a:xfrm>
            <a:off x="988758" y="299887"/>
            <a:ext cx="10214484" cy="748780"/>
          </a:xfrm>
        </p:spPr>
        <p:txBody>
          <a:bodyPr/>
          <a:lstStyle/>
          <a:p>
            <a:r>
              <a:rPr lang="en-US" sz="3200"/>
              <a:t>CRITICAL APPRECIATION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B2EE04D-3DCA-F8CA-D5D9-2F7B83AD2EC9}"/>
              </a:ext>
            </a:extLst>
          </p:cNvPr>
          <p:cNvSpPr/>
          <p:nvPr/>
        </p:nvSpPr>
        <p:spPr>
          <a:xfrm>
            <a:off x="4884089" y="3556985"/>
            <a:ext cx="2613071" cy="246093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400" b="1">
                <a:solidFill>
                  <a:srgbClr val="ED6161"/>
                </a:solidFill>
                <a:latin typeface="Circular"/>
              </a:rPr>
              <a:t>Negative Impact</a:t>
            </a:r>
          </a:p>
          <a:p>
            <a:pPr algn="ctr">
              <a:lnSpc>
                <a:spcPct val="80000"/>
              </a:lnSpc>
            </a:pPr>
            <a:endParaRPr lang="en-US" sz="2800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Long term effect on housing market</a:t>
            </a:r>
          </a:p>
          <a:p>
            <a:pPr>
              <a:lnSpc>
                <a:spcPct val="80000"/>
              </a:lnSpc>
            </a:pP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Reduced accountability</a:t>
            </a: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endParaRPr lang="en-US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endParaRPr lang="en-US" sz="1600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endParaRPr lang="en-US" sz="1600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50EF6CFD-F836-769E-DEDB-4350C01A067F}"/>
              </a:ext>
            </a:extLst>
          </p:cNvPr>
          <p:cNvSpPr/>
          <p:nvPr/>
        </p:nvSpPr>
        <p:spPr>
          <a:xfrm>
            <a:off x="8518185" y="3450852"/>
            <a:ext cx="2750821" cy="29287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400" b="1">
                <a:solidFill>
                  <a:srgbClr val="ED6161"/>
                </a:solidFill>
                <a:latin typeface="Circular"/>
              </a:rPr>
              <a:t>Area for Improvement</a:t>
            </a:r>
          </a:p>
          <a:p>
            <a:pPr algn="ctr">
              <a:lnSpc>
                <a:spcPct val="80000"/>
              </a:lnSpc>
            </a:pPr>
            <a:endParaRPr lang="en-US" sz="2400" b="1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Customer helpline</a:t>
            </a:r>
            <a:br>
              <a:rPr lang="en-US" b="1">
                <a:latin typeface="Circular"/>
              </a:rPr>
            </a:b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Property listing and marketing</a:t>
            </a:r>
            <a:br>
              <a:rPr lang="en-US" b="1">
                <a:latin typeface="Circular"/>
              </a:rPr>
            </a:b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Host and Guest reviews</a:t>
            </a: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endParaRPr lang="en-US" sz="1600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endParaRPr lang="en-US" sz="1600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</p:txBody>
      </p:sp>
      <p:pic>
        <p:nvPicPr>
          <p:cNvPr id="100" name="Picture 100" descr="Free vector graphic: Handshake, Shaking Hands, Partners - Free Image on ...">
            <a:extLst>
              <a:ext uri="{FF2B5EF4-FFF2-40B4-BE49-F238E27FC236}">
                <a16:creationId xmlns:a16="http://schemas.microsoft.com/office/drawing/2014/main" id="{D6F34B1F-E932-805F-7A05-32C53C7A93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6264" y="1658158"/>
            <a:ext cx="2081893" cy="1518558"/>
          </a:xfrm>
          <a:prstGeom prst="rect">
            <a:avLst/>
          </a:prstGeom>
        </p:spPr>
      </p:pic>
      <p:pic>
        <p:nvPicPr>
          <p:cNvPr id="101" name="Picture 102" descr="Shape&#10;&#10;Description automatically generated">
            <a:extLst>
              <a:ext uri="{FF2B5EF4-FFF2-40B4-BE49-F238E27FC236}">
                <a16:creationId xmlns:a16="http://schemas.microsoft.com/office/drawing/2014/main" id="{A94F7C18-37C7-269D-27B8-E6AFE906E7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3156" y="2008647"/>
            <a:ext cx="1447801" cy="1169492"/>
          </a:xfrm>
          <a:prstGeom prst="rect">
            <a:avLst/>
          </a:prstGeom>
          <a:ln>
            <a:noFill/>
          </a:ln>
        </p:spPr>
      </p:pic>
      <p:pic>
        <p:nvPicPr>
          <p:cNvPr id="103" name="Picture 103" descr="A picture containing arrow&#10;&#10;Description automatically generated">
            <a:extLst>
              <a:ext uri="{FF2B5EF4-FFF2-40B4-BE49-F238E27FC236}">
                <a16:creationId xmlns:a16="http://schemas.microsoft.com/office/drawing/2014/main" id="{DC49CC73-9EA2-3F84-1FFA-A1F5045B39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5132" y="1898803"/>
            <a:ext cx="1872342" cy="1276285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DB43CACC-FD61-8E9D-9F95-81EE086EC3CD}"/>
              </a:ext>
            </a:extLst>
          </p:cNvPr>
          <p:cNvSpPr/>
          <p:nvPr/>
        </p:nvSpPr>
        <p:spPr>
          <a:xfrm>
            <a:off x="1064120" y="3471244"/>
            <a:ext cx="3057733" cy="273241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400" b="1">
                <a:solidFill>
                  <a:srgbClr val="ED6161"/>
                </a:solidFill>
                <a:latin typeface="Circular"/>
              </a:rPr>
              <a:t>Positive Impact </a:t>
            </a:r>
            <a:endParaRPr lang="en-US"/>
          </a:p>
          <a:p>
            <a:pPr>
              <a:lnSpc>
                <a:spcPct val="80000"/>
              </a:lnSpc>
            </a:pPr>
            <a:endParaRPr lang="en-US" sz="2800" b="1">
              <a:solidFill>
                <a:srgbClr val="404040"/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Promote staycation</a:t>
            </a:r>
            <a:br>
              <a:rPr lang="en-US" b="1">
                <a:latin typeface="Circular"/>
              </a:rPr>
            </a:b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Boost tourism in underexplored areas</a:t>
            </a:r>
            <a:br>
              <a:rPr lang="en-US" b="1">
                <a:latin typeface="Circular"/>
              </a:rPr>
            </a:b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Supporting local economies</a:t>
            </a:r>
            <a:br>
              <a:rPr lang="en-US" b="1">
                <a:latin typeface="Circular"/>
              </a:rPr>
            </a:b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Circular"/>
            </a:endParaRPr>
          </a:p>
          <a:p>
            <a:pPr marL="342900" indent="-342900">
              <a:lnSpc>
                <a:spcPct val="80000"/>
              </a:lnSpc>
              <a:buFont typeface="Arial"/>
              <a:buChar char="•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Revenue generation</a:t>
            </a: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Circular"/>
              </a:rPr>
              <a:t> 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0208EE-A80A-E203-179E-E38B452FEB6F}"/>
              </a:ext>
            </a:extLst>
          </p:cNvPr>
          <p:cNvSpPr/>
          <p:nvPr/>
        </p:nvSpPr>
        <p:spPr>
          <a:xfrm>
            <a:off x="993503" y="1663606"/>
            <a:ext cx="2975611" cy="4800441"/>
          </a:xfrm>
          <a:prstGeom prst="rect">
            <a:avLst/>
          </a:prstGeom>
          <a:noFill/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721258-EAB6-E46D-7D4A-361AD6574E36}"/>
              </a:ext>
            </a:extLst>
          </p:cNvPr>
          <p:cNvSpPr/>
          <p:nvPr/>
        </p:nvSpPr>
        <p:spPr>
          <a:xfrm>
            <a:off x="4708252" y="1663606"/>
            <a:ext cx="2975612" cy="4800441"/>
          </a:xfrm>
          <a:prstGeom prst="rect">
            <a:avLst/>
          </a:prstGeom>
          <a:noFill/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67E785-A1B0-099A-DF7F-2435DD602F94}"/>
              </a:ext>
            </a:extLst>
          </p:cNvPr>
          <p:cNvSpPr/>
          <p:nvPr/>
        </p:nvSpPr>
        <p:spPr>
          <a:xfrm>
            <a:off x="8446815" y="1663606"/>
            <a:ext cx="2975611" cy="4800441"/>
          </a:xfrm>
          <a:prstGeom prst="rect">
            <a:avLst/>
          </a:prstGeom>
          <a:noFill/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8995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2" name="Rectangle 51">
            <a:extLst>
              <a:ext uri="{FF2B5EF4-FFF2-40B4-BE49-F238E27FC236}">
                <a16:creationId xmlns:a16="http://schemas.microsoft.com/office/drawing/2014/main" id="{A440A548-C0D4-4418-940E-EDC2F1D9A5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708B267-8CD2-4684-A57B-9F10707692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1E5AB36-9328-47E9-95AD-E38AC1C0E1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05" y="-369"/>
            <a:ext cx="6091008" cy="6858000"/>
            <a:chOff x="305" y="-369"/>
            <a:chExt cx="6091008" cy="6858000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532450F-A219-4BF5-88FA-A47084237C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369"/>
              <a:ext cx="6057007" cy="6858000"/>
            </a:xfrm>
            <a:custGeom>
              <a:avLst/>
              <a:gdLst>
                <a:gd name="connsiteX0" fmla="*/ 1423825 w 6057007"/>
                <a:gd name="connsiteY0" fmla="*/ 0 h 6858000"/>
                <a:gd name="connsiteX1" fmla="*/ 4262456 w 6057007"/>
                <a:gd name="connsiteY1" fmla="*/ 0 h 6858000"/>
                <a:gd name="connsiteX2" fmla="*/ 4371584 w 6057007"/>
                <a:gd name="connsiteY2" fmla="*/ 79625 h 6858000"/>
                <a:gd name="connsiteX3" fmla="*/ 5400299 w 6057007"/>
                <a:gd name="connsiteY3" fmla="*/ 1779691 h 6858000"/>
                <a:gd name="connsiteX4" fmla="*/ 5961759 w 6057007"/>
                <a:gd name="connsiteY4" fmla="*/ 4554903 h 6858000"/>
                <a:gd name="connsiteX5" fmla="*/ 4326541 w 6057007"/>
                <a:gd name="connsiteY5" fmla="*/ 6729688 h 6858000"/>
                <a:gd name="connsiteX6" fmla="*/ 4109121 w 6057007"/>
                <a:gd name="connsiteY6" fmla="*/ 6858000 h 6858000"/>
                <a:gd name="connsiteX7" fmla="*/ 1145358 w 6057007"/>
                <a:gd name="connsiteY7" fmla="*/ 6858000 h 6858000"/>
                <a:gd name="connsiteX8" fmla="*/ 1143587 w 6057007"/>
                <a:gd name="connsiteY8" fmla="*/ 6856705 h 6858000"/>
                <a:gd name="connsiteX9" fmla="*/ 162579 w 6057007"/>
                <a:gd name="connsiteY9" fmla="*/ 6240990 h 6858000"/>
                <a:gd name="connsiteX10" fmla="*/ 0 w 6057007"/>
                <a:gd name="connsiteY10" fmla="*/ 6125553 h 6858000"/>
                <a:gd name="connsiteX11" fmla="*/ 0 w 6057007"/>
                <a:gd name="connsiteY11" fmla="*/ 4670879 h 6858000"/>
                <a:gd name="connsiteX12" fmla="*/ 38388 w 6057007"/>
                <a:gd name="connsiteY12" fmla="*/ 4778792 h 6858000"/>
                <a:gd name="connsiteX13" fmla="*/ 155449 w 6057007"/>
                <a:gd name="connsiteY13" fmla="*/ 5029879 h 6858000"/>
                <a:gd name="connsiteX14" fmla="*/ 411802 w 6057007"/>
                <a:gd name="connsiteY14" fmla="*/ 5399531 h 6858000"/>
                <a:gd name="connsiteX15" fmla="*/ 806388 w 6057007"/>
                <a:gd name="connsiteY15" fmla="*/ 5659633 h 6858000"/>
                <a:gd name="connsiteX16" fmla="*/ 1801512 w 6057007"/>
                <a:gd name="connsiteY16" fmla="*/ 6314010 h 6858000"/>
                <a:gd name="connsiteX17" fmla="*/ 2653483 w 6057007"/>
                <a:gd name="connsiteY17" fmla="*/ 6529898 h 6858000"/>
                <a:gd name="connsiteX18" fmla="*/ 3666486 w 6057007"/>
                <a:gd name="connsiteY18" fmla="*/ 6190615 h 6858000"/>
                <a:gd name="connsiteX19" fmla="*/ 4658657 w 6057007"/>
                <a:gd name="connsiteY19" fmla="*/ 5428179 h 6858000"/>
                <a:gd name="connsiteX20" fmla="*/ 5222967 w 6057007"/>
                <a:gd name="connsiteY20" fmla="*/ 4356944 h 6858000"/>
                <a:gd name="connsiteX21" fmla="*/ 4724795 w 6057007"/>
                <a:gd name="connsiteY21" fmla="*/ 2210416 h 6858000"/>
                <a:gd name="connsiteX22" fmla="*/ 4473185 w 6057007"/>
                <a:gd name="connsiteY22" fmla="*/ 1691554 h 6858000"/>
                <a:gd name="connsiteX23" fmla="*/ 4046677 w 6057007"/>
                <a:gd name="connsiteY23" fmla="*/ 911781 h 6858000"/>
                <a:gd name="connsiteX24" fmla="*/ 3555564 w 6057007"/>
                <a:gd name="connsiteY24" fmla="*/ 585888 h 6858000"/>
                <a:gd name="connsiteX25" fmla="*/ 2405914 w 6057007"/>
                <a:gd name="connsiteY25" fmla="*/ 536282 h 6858000"/>
                <a:gd name="connsiteX26" fmla="*/ 1345719 w 6057007"/>
                <a:gd name="connsiteY26" fmla="*/ 957619 h 6858000"/>
                <a:gd name="connsiteX27" fmla="*/ 73341 w 6057007"/>
                <a:gd name="connsiteY27" fmla="*/ 2571698 h 6858000"/>
                <a:gd name="connsiteX28" fmla="*/ 0 w 6057007"/>
                <a:gd name="connsiteY28" fmla="*/ 2803810 h 6858000"/>
                <a:gd name="connsiteX29" fmla="*/ 0 w 6057007"/>
                <a:gd name="connsiteY29" fmla="*/ 1147591 h 6858000"/>
                <a:gd name="connsiteX30" fmla="*/ 142706 w 6057007"/>
                <a:gd name="connsiteY30" fmla="*/ 968763 h 6858000"/>
                <a:gd name="connsiteX31" fmla="*/ 971831 w 6057007"/>
                <a:gd name="connsiteY31" fmla="*/ 249890 h 6858000"/>
                <a:gd name="connsiteX32" fmla="*/ 1288677 w 6057007"/>
                <a:gd name="connsiteY32" fmla="*/ 6583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57007" h="6858000">
                  <a:moveTo>
                    <a:pt x="1423825" y="0"/>
                  </a:moveTo>
                  <a:lnTo>
                    <a:pt x="4262456" y="0"/>
                  </a:lnTo>
                  <a:lnTo>
                    <a:pt x="4371584" y="79625"/>
                  </a:lnTo>
                  <a:cubicBezTo>
                    <a:pt x="4860533" y="476670"/>
                    <a:pt x="5063885" y="1132812"/>
                    <a:pt x="5400299" y="1779691"/>
                  </a:cubicBezTo>
                  <a:cubicBezTo>
                    <a:pt x="5848849" y="2642194"/>
                    <a:pt x="6244956" y="3497996"/>
                    <a:pt x="5961759" y="4554903"/>
                  </a:cubicBezTo>
                  <a:cubicBezTo>
                    <a:pt x="5691575" y="5563242"/>
                    <a:pt x="5092427" y="6238887"/>
                    <a:pt x="4326541" y="6729688"/>
                  </a:cubicBezTo>
                  <a:lnTo>
                    <a:pt x="4109121" y="6858000"/>
                  </a:lnTo>
                  <a:lnTo>
                    <a:pt x="1145358" y="6858000"/>
                  </a:lnTo>
                  <a:lnTo>
                    <a:pt x="1143587" y="6856705"/>
                  </a:lnTo>
                  <a:cubicBezTo>
                    <a:pt x="699546" y="6541440"/>
                    <a:pt x="399287" y="6392433"/>
                    <a:pt x="162579" y="6240990"/>
                  </a:cubicBezTo>
                  <a:lnTo>
                    <a:pt x="0" y="6125553"/>
                  </a:lnTo>
                  <a:lnTo>
                    <a:pt x="0" y="4670879"/>
                  </a:lnTo>
                  <a:lnTo>
                    <a:pt x="38388" y="4778792"/>
                  </a:lnTo>
                  <a:cubicBezTo>
                    <a:pt x="72793" y="4862402"/>
                    <a:pt x="111802" y="4945953"/>
                    <a:pt x="155449" y="5029879"/>
                  </a:cubicBezTo>
                  <a:cubicBezTo>
                    <a:pt x="273464" y="5256810"/>
                    <a:pt x="351295" y="5344113"/>
                    <a:pt x="411802" y="5399531"/>
                  </a:cubicBezTo>
                  <a:cubicBezTo>
                    <a:pt x="500065" y="5480405"/>
                    <a:pt x="628514" y="5555615"/>
                    <a:pt x="806388" y="5659633"/>
                  </a:cubicBezTo>
                  <a:cubicBezTo>
                    <a:pt x="1044358" y="5798926"/>
                    <a:pt x="1370396" y="5989780"/>
                    <a:pt x="1801512" y="6314010"/>
                  </a:cubicBezTo>
                  <a:cubicBezTo>
                    <a:pt x="2037213" y="6491324"/>
                    <a:pt x="2315885" y="6561958"/>
                    <a:pt x="2653483" y="6529898"/>
                  </a:cubicBezTo>
                  <a:cubicBezTo>
                    <a:pt x="2962383" y="6500529"/>
                    <a:pt x="3312661" y="6383221"/>
                    <a:pt x="3666486" y="6190615"/>
                  </a:cubicBezTo>
                  <a:cubicBezTo>
                    <a:pt x="4083218" y="5963697"/>
                    <a:pt x="4407642" y="5714350"/>
                    <a:pt x="4658657" y="5428179"/>
                  </a:cubicBezTo>
                  <a:cubicBezTo>
                    <a:pt x="4927319" y="5121947"/>
                    <a:pt x="5111907" y="4771422"/>
                    <a:pt x="5222967" y="4356944"/>
                  </a:cubicBezTo>
                  <a:cubicBezTo>
                    <a:pt x="5418167" y="3628447"/>
                    <a:pt x="5139747" y="3007703"/>
                    <a:pt x="4724795" y="2210416"/>
                  </a:cubicBezTo>
                  <a:cubicBezTo>
                    <a:pt x="4631776" y="2031551"/>
                    <a:pt x="4551122" y="1858737"/>
                    <a:pt x="4473185" y="1691554"/>
                  </a:cubicBezTo>
                  <a:cubicBezTo>
                    <a:pt x="4326842" y="1377756"/>
                    <a:pt x="4200559" y="1106810"/>
                    <a:pt x="4046677" y="911781"/>
                  </a:cubicBezTo>
                  <a:cubicBezTo>
                    <a:pt x="3910561" y="739097"/>
                    <a:pt x="3763658" y="641647"/>
                    <a:pt x="3555564" y="585888"/>
                  </a:cubicBezTo>
                  <a:cubicBezTo>
                    <a:pt x="3178534" y="484863"/>
                    <a:pt x="2791842" y="468166"/>
                    <a:pt x="2405914" y="536282"/>
                  </a:cubicBezTo>
                  <a:cubicBezTo>
                    <a:pt x="2032757" y="602054"/>
                    <a:pt x="1676044" y="743871"/>
                    <a:pt x="1345719" y="957619"/>
                  </a:cubicBezTo>
                  <a:cubicBezTo>
                    <a:pt x="762775" y="1334788"/>
                    <a:pt x="318714" y="1900690"/>
                    <a:pt x="73341" y="2571698"/>
                  </a:cubicBezTo>
                  <a:lnTo>
                    <a:pt x="0" y="2803810"/>
                  </a:lnTo>
                  <a:lnTo>
                    <a:pt x="0" y="1147591"/>
                  </a:lnTo>
                  <a:lnTo>
                    <a:pt x="142706" y="968763"/>
                  </a:lnTo>
                  <a:cubicBezTo>
                    <a:pt x="388539" y="688063"/>
                    <a:pt x="668237" y="446316"/>
                    <a:pt x="971831" y="249890"/>
                  </a:cubicBezTo>
                  <a:cubicBezTo>
                    <a:pt x="1074829" y="183240"/>
                    <a:pt x="1180574" y="121805"/>
                    <a:pt x="1288677" y="6583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35AC662-4000-411A-9E33-6A4B6C0FCB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369"/>
              <a:ext cx="6091008" cy="6858000"/>
            </a:xfrm>
            <a:custGeom>
              <a:avLst/>
              <a:gdLst>
                <a:gd name="connsiteX0" fmla="*/ 0 w 6091008"/>
                <a:gd name="connsiteY0" fmla="*/ 5476844 h 6858000"/>
                <a:gd name="connsiteX1" fmla="*/ 15220 w 6091008"/>
                <a:gd name="connsiteY1" fmla="*/ 5501668 h 6858000"/>
                <a:gd name="connsiteX2" fmla="*/ 198940 w 6091008"/>
                <a:gd name="connsiteY2" fmla="*/ 5717964 h 6858000"/>
                <a:gd name="connsiteX3" fmla="*/ 251499 w 6091008"/>
                <a:gd name="connsiteY3" fmla="*/ 5763842 h 6858000"/>
                <a:gd name="connsiteX4" fmla="*/ 308460 w 6091008"/>
                <a:gd name="connsiteY4" fmla="*/ 5806337 h 6858000"/>
                <a:gd name="connsiteX5" fmla="*/ 368305 w 6091008"/>
                <a:gd name="connsiteY5" fmla="*/ 5847248 h 6858000"/>
                <a:gd name="connsiteX6" fmla="*/ 430451 w 6091008"/>
                <a:gd name="connsiteY6" fmla="*/ 5887305 h 6858000"/>
                <a:gd name="connsiteX7" fmla="*/ 975811 w 6091008"/>
                <a:gd name="connsiteY7" fmla="*/ 6205653 h 6858000"/>
                <a:gd name="connsiteX8" fmla="*/ 1510250 w 6091008"/>
                <a:gd name="connsiteY8" fmla="*/ 6575390 h 6858000"/>
                <a:gd name="connsiteX9" fmla="*/ 2002437 w 6091008"/>
                <a:gd name="connsiteY9" fmla="*/ 6825029 h 6858000"/>
                <a:gd name="connsiteX10" fmla="*/ 2137670 w 6091008"/>
                <a:gd name="connsiteY10" fmla="*/ 6856874 h 6858000"/>
                <a:gd name="connsiteX11" fmla="*/ 2145778 w 6091008"/>
                <a:gd name="connsiteY11" fmla="*/ 6858000 h 6858000"/>
                <a:gd name="connsiteX12" fmla="*/ 1098858 w 6091008"/>
                <a:gd name="connsiteY12" fmla="*/ 6858000 h 6858000"/>
                <a:gd name="connsiteX13" fmla="*/ 1004166 w 6091008"/>
                <a:gd name="connsiteY13" fmla="*/ 6786858 h 6858000"/>
                <a:gd name="connsiteX14" fmla="*/ 751974 w 6091008"/>
                <a:gd name="connsiteY14" fmla="*/ 6608169 h 6858000"/>
                <a:gd name="connsiteX15" fmla="*/ 623305 w 6091008"/>
                <a:gd name="connsiteY15" fmla="*/ 6522172 h 6858000"/>
                <a:gd name="connsiteX16" fmla="*/ 492346 w 6091008"/>
                <a:gd name="connsiteY16" fmla="*/ 6437477 h 6858000"/>
                <a:gd name="connsiteX17" fmla="*/ 358536 w 6091008"/>
                <a:gd name="connsiteY17" fmla="*/ 6352312 h 6858000"/>
                <a:gd name="connsiteX18" fmla="*/ 290710 w 6091008"/>
                <a:gd name="connsiteY18" fmla="*/ 6308820 h 6858000"/>
                <a:gd name="connsiteX19" fmla="*/ 221792 w 6091008"/>
                <a:gd name="connsiteY19" fmla="*/ 6263122 h 6858000"/>
                <a:gd name="connsiteX20" fmla="*/ 152460 w 6091008"/>
                <a:gd name="connsiteY20" fmla="*/ 6215106 h 6858000"/>
                <a:gd name="connsiteX21" fmla="*/ 83055 w 6091008"/>
                <a:gd name="connsiteY21" fmla="*/ 6163978 h 6858000"/>
                <a:gd name="connsiteX22" fmla="*/ 14161 w 6091008"/>
                <a:gd name="connsiteY22" fmla="*/ 6109014 h 6858000"/>
                <a:gd name="connsiteX23" fmla="*/ 0 w 6091008"/>
                <a:gd name="connsiteY23" fmla="*/ 6096195 h 6858000"/>
                <a:gd name="connsiteX24" fmla="*/ 3707444 w 6091008"/>
                <a:gd name="connsiteY24" fmla="*/ 0 h 6858000"/>
                <a:gd name="connsiteX25" fmla="*/ 4265528 w 6091008"/>
                <a:gd name="connsiteY25" fmla="*/ 0 h 6858000"/>
                <a:gd name="connsiteX26" fmla="*/ 4291472 w 6091008"/>
                <a:gd name="connsiteY26" fmla="*/ 15596 h 6858000"/>
                <a:gd name="connsiteX27" fmla="*/ 4431124 w 6091008"/>
                <a:gd name="connsiteY27" fmla="*/ 119052 h 6858000"/>
                <a:gd name="connsiteX28" fmla="*/ 4899570 w 6091008"/>
                <a:gd name="connsiteY28" fmla="*/ 643769 h 6858000"/>
                <a:gd name="connsiteX29" fmla="*/ 5247925 w 6091008"/>
                <a:gd name="connsiteY29" fmla="*/ 1232134 h 6858000"/>
                <a:gd name="connsiteX30" fmla="*/ 5401234 w 6091008"/>
                <a:gd name="connsiteY30" fmla="*/ 1518442 h 6858000"/>
                <a:gd name="connsiteX31" fmla="*/ 5480921 w 6091008"/>
                <a:gd name="connsiteY31" fmla="*/ 1662114 h 6858000"/>
                <a:gd name="connsiteX32" fmla="*/ 5561804 w 6091008"/>
                <a:gd name="connsiteY32" fmla="*/ 1812436 h 6858000"/>
                <a:gd name="connsiteX33" fmla="*/ 5855037 w 6091008"/>
                <a:gd name="connsiteY33" fmla="*/ 2457716 h 6858000"/>
                <a:gd name="connsiteX34" fmla="*/ 6052254 w 6091008"/>
                <a:gd name="connsiteY34" fmla="*/ 3193699 h 6858000"/>
                <a:gd name="connsiteX35" fmla="*/ 6073151 w 6091008"/>
                <a:gd name="connsiteY35" fmla="*/ 4004612 h 6858000"/>
                <a:gd name="connsiteX36" fmla="*/ 6067309 w 6091008"/>
                <a:gd name="connsiteY36" fmla="*/ 4055890 h 6858000"/>
                <a:gd name="connsiteX37" fmla="*/ 6059979 w 6091008"/>
                <a:gd name="connsiteY37" fmla="*/ 4106917 h 6858000"/>
                <a:gd name="connsiteX38" fmla="*/ 6052371 w 6091008"/>
                <a:gd name="connsiteY38" fmla="*/ 4158016 h 6858000"/>
                <a:gd name="connsiteX39" fmla="*/ 6043434 w 6091008"/>
                <a:gd name="connsiteY39" fmla="*/ 4208759 h 6858000"/>
                <a:gd name="connsiteX40" fmla="*/ 6023229 w 6091008"/>
                <a:gd name="connsiteY40" fmla="*/ 4309769 h 6858000"/>
                <a:gd name="connsiteX41" fmla="*/ 5999922 w 6091008"/>
                <a:gd name="connsiteY41" fmla="*/ 4409799 h 6858000"/>
                <a:gd name="connsiteX42" fmla="*/ 5987157 w 6091008"/>
                <a:gd name="connsiteY42" fmla="*/ 4459369 h 6858000"/>
                <a:gd name="connsiteX43" fmla="*/ 5973731 w 6091008"/>
                <a:gd name="connsiteY43" fmla="*/ 4508027 h 6858000"/>
                <a:gd name="connsiteX44" fmla="*/ 5944653 w 6091008"/>
                <a:gd name="connsiteY44" fmla="*/ 4602538 h 6858000"/>
                <a:gd name="connsiteX45" fmla="*/ 5915334 w 6091008"/>
                <a:gd name="connsiteY45" fmla="*/ 4696982 h 6858000"/>
                <a:gd name="connsiteX46" fmla="*/ 5881786 w 6091008"/>
                <a:gd name="connsiteY46" fmla="*/ 4790295 h 6858000"/>
                <a:gd name="connsiteX47" fmla="*/ 5539609 w 6091008"/>
                <a:gd name="connsiteY47" fmla="*/ 5504511 h 6858000"/>
                <a:gd name="connsiteX48" fmla="*/ 5432400 w 6091008"/>
                <a:gd name="connsiteY48" fmla="*/ 5669348 h 6858000"/>
                <a:gd name="connsiteX49" fmla="*/ 5404330 w 6091008"/>
                <a:gd name="connsiteY49" fmla="*/ 5709372 h 6858000"/>
                <a:gd name="connsiteX50" fmla="*/ 5375525 w 6091008"/>
                <a:gd name="connsiteY50" fmla="*/ 5748757 h 6858000"/>
                <a:gd name="connsiteX51" fmla="*/ 5317831 w 6091008"/>
                <a:gd name="connsiteY51" fmla="*/ 5827355 h 6858000"/>
                <a:gd name="connsiteX52" fmla="*/ 5288208 w 6091008"/>
                <a:gd name="connsiteY52" fmla="*/ 5865932 h 6858000"/>
                <a:gd name="connsiteX53" fmla="*/ 5273251 w 6091008"/>
                <a:gd name="connsiteY53" fmla="*/ 5885035 h 6858000"/>
                <a:gd name="connsiteX54" fmla="*/ 5256656 w 6091008"/>
                <a:gd name="connsiteY54" fmla="*/ 5902520 h 6858000"/>
                <a:gd name="connsiteX55" fmla="*/ 5189858 w 6091008"/>
                <a:gd name="connsiteY55" fmla="*/ 5971616 h 6858000"/>
                <a:gd name="connsiteX56" fmla="*/ 5156287 w 6091008"/>
                <a:gd name="connsiteY56" fmla="*/ 6005600 h 6858000"/>
                <a:gd name="connsiteX57" fmla="*/ 5121598 w 6091008"/>
                <a:gd name="connsiteY57" fmla="*/ 6037962 h 6858000"/>
                <a:gd name="connsiteX58" fmla="*/ 5051798 w 6091008"/>
                <a:gd name="connsiteY58" fmla="*/ 6101838 h 6858000"/>
                <a:gd name="connsiteX59" fmla="*/ 4463594 w 6091008"/>
                <a:gd name="connsiteY59" fmla="*/ 6532280 h 6858000"/>
                <a:gd name="connsiteX60" fmla="*/ 4388637 w 6091008"/>
                <a:gd name="connsiteY60" fmla="*/ 6579169 h 6858000"/>
                <a:gd name="connsiteX61" fmla="*/ 4312856 w 6091008"/>
                <a:gd name="connsiteY61" fmla="*/ 6623337 h 6858000"/>
                <a:gd name="connsiteX62" fmla="*/ 4237558 w 6091008"/>
                <a:gd name="connsiteY62" fmla="*/ 6667632 h 6858000"/>
                <a:gd name="connsiteX63" fmla="*/ 4161774 w 6091008"/>
                <a:gd name="connsiteY63" fmla="*/ 6709883 h 6858000"/>
                <a:gd name="connsiteX64" fmla="*/ 4010448 w 6091008"/>
                <a:gd name="connsiteY64" fmla="*/ 6792981 h 6858000"/>
                <a:gd name="connsiteX65" fmla="*/ 3935163 w 6091008"/>
                <a:gd name="connsiteY65" fmla="*/ 6834338 h 6858000"/>
                <a:gd name="connsiteX66" fmla="*/ 3892887 w 6091008"/>
                <a:gd name="connsiteY66" fmla="*/ 6858000 h 6858000"/>
                <a:gd name="connsiteX67" fmla="*/ 2743942 w 6091008"/>
                <a:gd name="connsiteY67" fmla="*/ 6858000 h 6858000"/>
                <a:gd name="connsiteX68" fmla="*/ 2852577 w 6091008"/>
                <a:gd name="connsiteY68" fmla="*/ 6838910 h 6858000"/>
                <a:gd name="connsiteX69" fmla="*/ 3143255 w 6091008"/>
                <a:gd name="connsiteY69" fmla="*/ 6759775 h 6858000"/>
                <a:gd name="connsiteX70" fmla="*/ 3430899 w 6091008"/>
                <a:gd name="connsiteY70" fmla="*/ 6650056 h 6858000"/>
                <a:gd name="connsiteX71" fmla="*/ 3713289 w 6091008"/>
                <a:gd name="connsiteY71" fmla="*/ 6514054 h 6858000"/>
                <a:gd name="connsiteX72" fmla="*/ 3981228 w 6091008"/>
                <a:gd name="connsiteY72" fmla="*/ 6334878 h 6858000"/>
                <a:gd name="connsiteX73" fmla="*/ 4107885 w 6091008"/>
                <a:gd name="connsiteY73" fmla="*/ 6233689 h 6858000"/>
                <a:gd name="connsiteX74" fmla="*/ 4169795 w 6091008"/>
                <a:gd name="connsiteY74" fmla="*/ 6181389 h 6858000"/>
                <a:gd name="connsiteX75" fmla="*/ 4229189 w 6091008"/>
                <a:gd name="connsiteY75" fmla="*/ 6125914 h 6858000"/>
                <a:gd name="connsiteX76" fmla="*/ 4652064 w 6091008"/>
                <a:gd name="connsiteY76" fmla="*/ 5641457 h 6858000"/>
                <a:gd name="connsiteX77" fmla="*/ 4697555 w 6091008"/>
                <a:gd name="connsiteY77" fmla="*/ 5576516 h 6858000"/>
                <a:gd name="connsiteX78" fmla="*/ 4720492 w 6091008"/>
                <a:gd name="connsiteY78" fmla="*/ 5544537 h 6858000"/>
                <a:gd name="connsiteX79" fmla="*/ 4741922 w 6091008"/>
                <a:gd name="connsiteY79" fmla="*/ 5511420 h 6858000"/>
                <a:gd name="connsiteX80" fmla="*/ 4784179 w 6091008"/>
                <a:gd name="connsiteY80" fmla="*/ 5445022 h 6858000"/>
                <a:gd name="connsiteX81" fmla="*/ 4794796 w 6091008"/>
                <a:gd name="connsiteY81" fmla="*/ 5428584 h 6858000"/>
                <a:gd name="connsiteX82" fmla="*/ 4807173 w 6091008"/>
                <a:gd name="connsiteY82" fmla="*/ 5413795 h 6858000"/>
                <a:gd name="connsiteX83" fmla="*/ 4830010 w 6091008"/>
                <a:gd name="connsiteY83" fmla="*/ 5382674 h 6858000"/>
                <a:gd name="connsiteX84" fmla="*/ 4874298 w 6091008"/>
                <a:gd name="connsiteY84" fmla="*/ 5319323 h 6858000"/>
                <a:gd name="connsiteX85" fmla="*/ 4896484 w 6091008"/>
                <a:gd name="connsiteY85" fmla="*/ 5287734 h 6858000"/>
                <a:gd name="connsiteX86" fmla="*/ 4918019 w 6091008"/>
                <a:gd name="connsiteY86" fmla="*/ 5255673 h 6858000"/>
                <a:gd name="connsiteX87" fmla="*/ 4999238 w 6091008"/>
                <a:gd name="connsiteY87" fmla="*/ 5124058 h 6858000"/>
                <a:gd name="connsiteX88" fmla="*/ 5251271 w 6091008"/>
                <a:gd name="connsiteY88" fmla="*/ 4554965 h 6858000"/>
                <a:gd name="connsiteX89" fmla="*/ 5276136 w 6091008"/>
                <a:gd name="connsiteY89" fmla="*/ 4480521 h 6858000"/>
                <a:gd name="connsiteX90" fmla="*/ 5297442 w 6091008"/>
                <a:gd name="connsiteY90" fmla="*/ 4404389 h 6858000"/>
                <a:gd name="connsiteX91" fmla="*/ 5318953 w 6091008"/>
                <a:gd name="connsiteY91" fmla="*/ 4328458 h 6858000"/>
                <a:gd name="connsiteX92" fmla="*/ 5328684 w 6091008"/>
                <a:gd name="connsiteY92" fmla="*/ 4291175 h 6858000"/>
                <a:gd name="connsiteX93" fmla="*/ 5337470 w 6091008"/>
                <a:gd name="connsiteY93" fmla="*/ 4254522 h 6858000"/>
                <a:gd name="connsiteX94" fmla="*/ 5353277 w 6091008"/>
                <a:gd name="connsiteY94" fmla="*/ 4181038 h 6858000"/>
                <a:gd name="connsiteX95" fmla="*/ 5366762 w 6091008"/>
                <a:gd name="connsiteY95" fmla="*/ 4107520 h 6858000"/>
                <a:gd name="connsiteX96" fmla="*/ 5373105 w 6091008"/>
                <a:gd name="connsiteY96" fmla="*/ 4070802 h 6858000"/>
                <a:gd name="connsiteX97" fmla="*/ 5378288 w 6091008"/>
                <a:gd name="connsiteY97" fmla="*/ 4034066 h 6858000"/>
                <a:gd name="connsiteX98" fmla="*/ 5383471 w 6091008"/>
                <a:gd name="connsiteY98" fmla="*/ 3997331 h 6858000"/>
                <a:gd name="connsiteX99" fmla="*/ 5387373 w 6091008"/>
                <a:gd name="connsiteY99" fmla="*/ 3960547 h 6858000"/>
                <a:gd name="connsiteX100" fmla="*/ 5375699 w 6091008"/>
                <a:gd name="connsiteY100" fmla="*/ 3369810 h 6858000"/>
                <a:gd name="connsiteX101" fmla="*/ 5225695 w 6091008"/>
                <a:gd name="connsiteY101" fmla="*/ 2777923 h 6858000"/>
                <a:gd name="connsiteX102" fmla="*/ 4989893 w 6091008"/>
                <a:gd name="connsiteY102" fmla="*/ 2181595 h 6858000"/>
                <a:gd name="connsiteX103" fmla="*/ 4856777 w 6091008"/>
                <a:gd name="connsiteY103" fmla="*/ 1872581 h 6858000"/>
                <a:gd name="connsiteX104" fmla="*/ 4729367 w 6091008"/>
                <a:gd name="connsiteY104" fmla="*/ 1547581 h 6858000"/>
                <a:gd name="connsiteX105" fmla="*/ 4510575 w 6091008"/>
                <a:gd name="connsiteY105" fmla="*/ 917244 h 6858000"/>
                <a:gd name="connsiteX106" fmla="*/ 4387446 w 6091008"/>
                <a:gd name="connsiteY106" fmla="*/ 626512 h 6858000"/>
                <a:gd name="connsiteX107" fmla="*/ 4227716 w 6091008"/>
                <a:gd name="connsiteY107" fmla="*/ 368510 h 6858000"/>
                <a:gd name="connsiteX108" fmla="*/ 4017774 w 6091008"/>
                <a:gd name="connsiteY108" fmla="*/ 161674 h 6858000"/>
                <a:gd name="connsiteX109" fmla="*/ 3761542 w 6091008"/>
                <a:gd name="connsiteY109" fmla="*/ 19860 h 6858000"/>
                <a:gd name="connsiteX110" fmla="*/ 3727185 w 6091008"/>
                <a:gd name="connsiteY110" fmla="*/ 6533 h 6858000"/>
                <a:gd name="connsiteX111" fmla="*/ 1325680 w 6091008"/>
                <a:gd name="connsiteY111" fmla="*/ 0 h 6858000"/>
                <a:gd name="connsiteX112" fmla="*/ 2347354 w 6091008"/>
                <a:gd name="connsiteY112" fmla="*/ 0 h 6858000"/>
                <a:gd name="connsiteX113" fmla="*/ 2262734 w 6091008"/>
                <a:gd name="connsiteY113" fmla="*/ 20581 h 6858000"/>
                <a:gd name="connsiteX114" fmla="*/ 1969830 w 6091008"/>
                <a:gd name="connsiteY114" fmla="*/ 118108 h 6858000"/>
                <a:gd name="connsiteX115" fmla="*/ 1897367 w 6091008"/>
                <a:gd name="connsiteY115" fmla="*/ 145059 h 6858000"/>
                <a:gd name="connsiteX116" fmla="*/ 1825860 w 6091008"/>
                <a:gd name="connsiteY116" fmla="*/ 175210 h 6858000"/>
                <a:gd name="connsiteX117" fmla="*/ 1754258 w 6091008"/>
                <a:gd name="connsiteY117" fmla="*/ 204746 h 6858000"/>
                <a:gd name="connsiteX118" fmla="*/ 1683442 w 6091008"/>
                <a:gd name="connsiteY118" fmla="*/ 237143 h 6858000"/>
                <a:gd name="connsiteX119" fmla="*/ 1612330 w 6091008"/>
                <a:gd name="connsiteY119" fmla="*/ 268724 h 6858000"/>
                <a:gd name="connsiteX120" fmla="*/ 1542244 w 6091008"/>
                <a:gd name="connsiteY120" fmla="*/ 303229 h 6858000"/>
                <a:gd name="connsiteX121" fmla="*/ 1471990 w 6091008"/>
                <a:gd name="connsiteY121" fmla="*/ 337395 h 6858000"/>
                <a:gd name="connsiteX122" fmla="*/ 1402813 w 6091008"/>
                <a:gd name="connsiteY122" fmla="*/ 374794 h 6858000"/>
                <a:gd name="connsiteX123" fmla="*/ 1333886 w 6091008"/>
                <a:gd name="connsiteY123" fmla="*/ 412702 h 6858000"/>
                <a:gd name="connsiteX124" fmla="*/ 1266278 w 6091008"/>
                <a:gd name="connsiteY124" fmla="*/ 453907 h 6858000"/>
                <a:gd name="connsiteX125" fmla="*/ 1199136 w 6091008"/>
                <a:gd name="connsiteY125" fmla="*/ 496266 h 6858000"/>
                <a:gd name="connsiteX126" fmla="*/ 1182302 w 6091008"/>
                <a:gd name="connsiteY126" fmla="*/ 506917 h 6858000"/>
                <a:gd name="connsiteX127" fmla="*/ 1166009 w 6091008"/>
                <a:gd name="connsiteY127" fmla="*/ 518449 h 6858000"/>
                <a:gd name="connsiteX128" fmla="*/ 1133302 w 6091008"/>
                <a:gd name="connsiteY128" fmla="*/ 541479 h 6858000"/>
                <a:gd name="connsiteX129" fmla="*/ 1067923 w 6091008"/>
                <a:gd name="connsiteY129" fmla="*/ 587403 h 6858000"/>
                <a:gd name="connsiteX130" fmla="*/ 1051509 w 6091008"/>
                <a:gd name="connsiteY130" fmla="*/ 598902 h 6858000"/>
                <a:gd name="connsiteX131" fmla="*/ 1035673 w 6091008"/>
                <a:gd name="connsiteY131" fmla="*/ 611145 h 6858000"/>
                <a:gd name="connsiteX132" fmla="*/ 1003878 w 6091008"/>
                <a:gd name="connsiteY132" fmla="*/ 635598 h 6858000"/>
                <a:gd name="connsiteX133" fmla="*/ 877673 w 6091008"/>
                <a:gd name="connsiteY133" fmla="*/ 735582 h 6858000"/>
                <a:gd name="connsiteX134" fmla="*/ 417533 w 6091008"/>
                <a:gd name="connsiteY134" fmla="*/ 1198720 h 6858000"/>
                <a:gd name="connsiteX135" fmla="*/ 54935 w 6091008"/>
                <a:gd name="connsiteY135" fmla="*/ 1756293 h 6858000"/>
                <a:gd name="connsiteX136" fmla="*/ 17844 w 6091008"/>
                <a:gd name="connsiteY136" fmla="*/ 1831433 h 6858000"/>
                <a:gd name="connsiteX137" fmla="*/ 0 w 6091008"/>
                <a:gd name="connsiteY137" fmla="*/ 1869131 h 6858000"/>
                <a:gd name="connsiteX138" fmla="*/ 0 w 6091008"/>
                <a:gd name="connsiteY138" fmla="*/ 1198550 h 6858000"/>
                <a:gd name="connsiteX139" fmla="*/ 185957 w 6091008"/>
                <a:gd name="connsiteY139" fmla="*/ 961506 h 6858000"/>
                <a:gd name="connsiteX140" fmla="*/ 689746 w 6091008"/>
                <a:gd name="connsiteY140" fmla="*/ 447064 h 6858000"/>
                <a:gd name="connsiteX141" fmla="*/ 827126 w 6091008"/>
                <a:gd name="connsiteY141" fmla="*/ 333881 h 6858000"/>
                <a:gd name="connsiteX142" fmla="*/ 968997 w 6091008"/>
                <a:gd name="connsiteY142" fmla="*/ 228085 h 6858000"/>
                <a:gd name="connsiteX143" fmla="*/ 1004883 w 6091008"/>
                <a:gd name="connsiteY143" fmla="*/ 202373 h 6858000"/>
                <a:gd name="connsiteX144" fmla="*/ 1022826 w 6091008"/>
                <a:gd name="connsiteY144" fmla="*/ 189517 h 6858000"/>
                <a:gd name="connsiteX145" fmla="*/ 1041187 w 6091008"/>
                <a:gd name="connsiteY145" fmla="*/ 177509 h 6858000"/>
                <a:gd name="connsiteX146" fmla="*/ 1114760 w 6091008"/>
                <a:gd name="connsiteY146" fmla="*/ 129512 h 6858000"/>
                <a:gd name="connsiteX147" fmla="*/ 1188498 w 6091008"/>
                <a:gd name="connsiteY147" fmla="*/ 81854 h 6858000"/>
                <a:gd name="connsiteX148" fmla="*/ 1263461 w 6091008"/>
                <a:gd name="connsiteY148" fmla="*/ 3688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6091008" h="6858000">
                  <a:moveTo>
                    <a:pt x="0" y="5476844"/>
                  </a:moveTo>
                  <a:lnTo>
                    <a:pt x="15220" y="5501668"/>
                  </a:lnTo>
                  <a:cubicBezTo>
                    <a:pt x="69097" y="5585141"/>
                    <a:pt x="130925" y="5654403"/>
                    <a:pt x="198940" y="5717964"/>
                  </a:cubicBezTo>
                  <a:lnTo>
                    <a:pt x="251499" y="5763842"/>
                  </a:lnTo>
                  <a:lnTo>
                    <a:pt x="308460" y="5806337"/>
                  </a:lnTo>
                  <a:cubicBezTo>
                    <a:pt x="326685" y="5820934"/>
                    <a:pt x="348384" y="5833667"/>
                    <a:pt x="368305" y="5847248"/>
                  </a:cubicBezTo>
                  <a:cubicBezTo>
                    <a:pt x="388782" y="5860683"/>
                    <a:pt x="408424" y="5874336"/>
                    <a:pt x="430451" y="5887305"/>
                  </a:cubicBezTo>
                  <a:cubicBezTo>
                    <a:pt x="601703" y="5991186"/>
                    <a:pt x="792871" y="6091279"/>
                    <a:pt x="975811" y="6205653"/>
                  </a:cubicBezTo>
                  <a:cubicBezTo>
                    <a:pt x="1159565" y="6318920"/>
                    <a:pt x="1337666" y="6443625"/>
                    <a:pt x="1510250" y="6575390"/>
                  </a:cubicBezTo>
                  <a:cubicBezTo>
                    <a:pt x="1658997" y="6690317"/>
                    <a:pt x="1824862" y="6774210"/>
                    <a:pt x="2002437" y="6825029"/>
                  </a:cubicBezTo>
                  <a:cubicBezTo>
                    <a:pt x="2046812" y="6837803"/>
                    <a:pt x="2091936" y="6848385"/>
                    <a:pt x="2137670" y="6856874"/>
                  </a:cubicBezTo>
                  <a:lnTo>
                    <a:pt x="2145778" y="6858000"/>
                  </a:lnTo>
                  <a:lnTo>
                    <a:pt x="1098858" y="6858000"/>
                  </a:lnTo>
                  <a:lnTo>
                    <a:pt x="1004166" y="6786858"/>
                  </a:lnTo>
                  <a:cubicBezTo>
                    <a:pt x="920997" y="6725805"/>
                    <a:pt x="837118" y="6666016"/>
                    <a:pt x="751974" y="6608169"/>
                  </a:cubicBezTo>
                  <a:lnTo>
                    <a:pt x="623305" y="6522172"/>
                  </a:lnTo>
                  <a:lnTo>
                    <a:pt x="492346" y="6437477"/>
                  </a:lnTo>
                  <a:lnTo>
                    <a:pt x="358536" y="6352312"/>
                  </a:lnTo>
                  <a:lnTo>
                    <a:pt x="290710" y="6308820"/>
                  </a:lnTo>
                  <a:lnTo>
                    <a:pt x="221792" y="6263122"/>
                  </a:lnTo>
                  <a:cubicBezTo>
                    <a:pt x="198889" y="6248595"/>
                    <a:pt x="175526" y="6231442"/>
                    <a:pt x="152460" y="6215106"/>
                  </a:cubicBezTo>
                  <a:cubicBezTo>
                    <a:pt x="129301" y="6198154"/>
                    <a:pt x="105988" y="6183223"/>
                    <a:pt x="83055" y="6163978"/>
                  </a:cubicBezTo>
                  <a:lnTo>
                    <a:pt x="14161" y="6109014"/>
                  </a:lnTo>
                  <a:lnTo>
                    <a:pt x="0" y="6096195"/>
                  </a:lnTo>
                  <a:close/>
                  <a:moveTo>
                    <a:pt x="3707444" y="0"/>
                  </a:moveTo>
                  <a:lnTo>
                    <a:pt x="4265528" y="0"/>
                  </a:lnTo>
                  <a:lnTo>
                    <a:pt x="4291472" y="15596"/>
                  </a:lnTo>
                  <a:cubicBezTo>
                    <a:pt x="4339292" y="47637"/>
                    <a:pt x="4385917" y="82210"/>
                    <a:pt x="4431124" y="119052"/>
                  </a:cubicBezTo>
                  <a:cubicBezTo>
                    <a:pt x="4612085" y="266897"/>
                    <a:pt x="4766658" y="451392"/>
                    <a:pt x="4899570" y="643769"/>
                  </a:cubicBezTo>
                  <a:cubicBezTo>
                    <a:pt x="5032421" y="836866"/>
                    <a:pt x="5144168" y="1037706"/>
                    <a:pt x="5247925" y="1232134"/>
                  </a:cubicBezTo>
                  <a:cubicBezTo>
                    <a:pt x="5299886" y="1329516"/>
                    <a:pt x="5349860" y="1425631"/>
                    <a:pt x="5401234" y="1518442"/>
                  </a:cubicBezTo>
                  <a:lnTo>
                    <a:pt x="5480921" y="1662114"/>
                  </a:lnTo>
                  <a:cubicBezTo>
                    <a:pt x="5508162" y="1711659"/>
                    <a:pt x="5535098" y="1761858"/>
                    <a:pt x="5561804" y="1812436"/>
                  </a:cubicBezTo>
                  <a:cubicBezTo>
                    <a:pt x="5668394" y="2015131"/>
                    <a:pt x="5769309" y="2228374"/>
                    <a:pt x="5855037" y="2457716"/>
                  </a:cubicBezTo>
                  <a:cubicBezTo>
                    <a:pt x="5940757" y="2686612"/>
                    <a:pt x="6011031" y="2932566"/>
                    <a:pt x="6052254" y="3193699"/>
                  </a:cubicBezTo>
                  <a:cubicBezTo>
                    <a:pt x="6093625" y="3454283"/>
                    <a:pt x="6103924" y="3730828"/>
                    <a:pt x="6073151" y="4004612"/>
                  </a:cubicBezTo>
                  <a:lnTo>
                    <a:pt x="6067309" y="4055890"/>
                  </a:lnTo>
                  <a:cubicBezTo>
                    <a:pt x="6065066" y="4072953"/>
                    <a:pt x="6062462" y="4089919"/>
                    <a:pt x="6059979" y="4106917"/>
                  </a:cubicBezTo>
                  <a:lnTo>
                    <a:pt x="6052371" y="4158016"/>
                  </a:lnTo>
                  <a:cubicBezTo>
                    <a:pt x="6049766" y="4174982"/>
                    <a:pt x="6046401" y="4191890"/>
                    <a:pt x="6043434" y="4208759"/>
                  </a:cubicBezTo>
                  <a:cubicBezTo>
                    <a:pt x="6037102" y="4242536"/>
                    <a:pt x="6031011" y="4276380"/>
                    <a:pt x="6023229" y="4309769"/>
                  </a:cubicBezTo>
                  <a:cubicBezTo>
                    <a:pt x="6015690" y="4343223"/>
                    <a:pt x="6008874" y="4376870"/>
                    <a:pt x="5999922" y="4409799"/>
                  </a:cubicBezTo>
                  <a:lnTo>
                    <a:pt x="5987157" y="4459369"/>
                  </a:lnTo>
                  <a:cubicBezTo>
                    <a:pt x="5982945" y="4476053"/>
                    <a:pt x="5978687" y="4492427"/>
                    <a:pt x="5973731" y="4508027"/>
                  </a:cubicBezTo>
                  <a:lnTo>
                    <a:pt x="5944653" y="4602538"/>
                  </a:lnTo>
                  <a:lnTo>
                    <a:pt x="5915334" y="4696982"/>
                  </a:lnTo>
                  <a:cubicBezTo>
                    <a:pt x="5905346" y="4728457"/>
                    <a:pt x="5892944" y="4759283"/>
                    <a:pt x="5881786" y="4790295"/>
                  </a:cubicBezTo>
                  <a:cubicBezTo>
                    <a:pt x="5791737" y="5038923"/>
                    <a:pt x="5677271" y="5280123"/>
                    <a:pt x="5539609" y="5504511"/>
                  </a:cubicBezTo>
                  <a:lnTo>
                    <a:pt x="5432400" y="5669348"/>
                  </a:lnTo>
                  <a:cubicBezTo>
                    <a:pt x="5423763" y="5683225"/>
                    <a:pt x="5413823" y="5696165"/>
                    <a:pt x="5404330" y="5709372"/>
                  </a:cubicBezTo>
                  <a:lnTo>
                    <a:pt x="5375525" y="5748757"/>
                  </a:lnTo>
                  <a:lnTo>
                    <a:pt x="5317831" y="5827355"/>
                  </a:lnTo>
                  <a:cubicBezTo>
                    <a:pt x="5308217" y="5840529"/>
                    <a:pt x="5298639" y="5853567"/>
                    <a:pt x="5288208" y="5865932"/>
                  </a:cubicBezTo>
                  <a:cubicBezTo>
                    <a:pt x="5283153" y="5872232"/>
                    <a:pt x="5278509" y="5878936"/>
                    <a:pt x="5273251" y="5885035"/>
                  </a:cubicBezTo>
                  <a:cubicBezTo>
                    <a:pt x="5267908" y="5890963"/>
                    <a:pt x="5262120" y="5896624"/>
                    <a:pt x="5256656" y="5902520"/>
                  </a:cubicBezTo>
                  <a:lnTo>
                    <a:pt x="5189858" y="5971616"/>
                  </a:lnTo>
                  <a:cubicBezTo>
                    <a:pt x="5178681" y="5982899"/>
                    <a:pt x="5167959" y="5994892"/>
                    <a:pt x="5156287" y="6005600"/>
                  </a:cubicBezTo>
                  <a:lnTo>
                    <a:pt x="5121598" y="6037962"/>
                  </a:lnTo>
                  <a:lnTo>
                    <a:pt x="5051798" y="6101838"/>
                  </a:lnTo>
                  <a:cubicBezTo>
                    <a:pt x="4864110" y="6268956"/>
                    <a:pt x="4663874" y="6407541"/>
                    <a:pt x="4463594" y="6532280"/>
                  </a:cubicBezTo>
                  <a:cubicBezTo>
                    <a:pt x="4438472" y="6547774"/>
                    <a:pt x="4413434" y="6563439"/>
                    <a:pt x="4388637" y="6579169"/>
                  </a:cubicBezTo>
                  <a:lnTo>
                    <a:pt x="4312856" y="6623337"/>
                  </a:lnTo>
                  <a:lnTo>
                    <a:pt x="4237558" y="6667632"/>
                  </a:lnTo>
                  <a:cubicBezTo>
                    <a:pt x="4212548" y="6682715"/>
                    <a:pt x="4186842" y="6695553"/>
                    <a:pt x="4161774" y="6709883"/>
                  </a:cubicBezTo>
                  <a:cubicBezTo>
                    <a:pt x="4111167" y="6737392"/>
                    <a:pt x="4061123" y="6766670"/>
                    <a:pt x="4010448" y="6792981"/>
                  </a:cubicBezTo>
                  <a:cubicBezTo>
                    <a:pt x="3985322" y="6806562"/>
                    <a:pt x="3960037" y="6820248"/>
                    <a:pt x="3935163" y="6834338"/>
                  </a:cubicBezTo>
                  <a:lnTo>
                    <a:pt x="3892887" y="6858000"/>
                  </a:lnTo>
                  <a:lnTo>
                    <a:pt x="2743942" y="6858000"/>
                  </a:lnTo>
                  <a:lnTo>
                    <a:pt x="2852577" y="6838910"/>
                  </a:lnTo>
                  <a:cubicBezTo>
                    <a:pt x="2949686" y="6818527"/>
                    <a:pt x="3046805" y="6791706"/>
                    <a:pt x="3143255" y="6759775"/>
                  </a:cubicBezTo>
                  <a:cubicBezTo>
                    <a:pt x="3239807" y="6727945"/>
                    <a:pt x="3335416" y="6689975"/>
                    <a:pt x="3430899" y="6650056"/>
                  </a:cubicBezTo>
                  <a:cubicBezTo>
                    <a:pt x="3526299" y="6609969"/>
                    <a:pt x="3621242" y="6565786"/>
                    <a:pt x="3713289" y="6514054"/>
                  </a:cubicBezTo>
                  <a:cubicBezTo>
                    <a:pt x="3805137" y="6460650"/>
                    <a:pt x="3895762" y="6401178"/>
                    <a:pt x="3981228" y="6334878"/>
                  </a:cubicBezTo>
                  <a:cubicBezTo>
                    <a:pt x="4024934" y="6303166"/>
                    <a:pt x="4066572" y="6268544"/>
                    <a:pt x="4107885" y="6233689"/>
                  </a:cubicBezTo>
                  <a:cubicBezTo>
                    <a:pt x="4128602" y="6216277"/>
                    <a:pt x="4149365" y="6199173"/>
                    <a:pt x="4169795" y="6181389"/>
                  </a:cubicBezTo>
                  <a:cubicBezTo>
                    <a:pt x="4189729" y="6163032"/>
                    <a:pt x="4209542" y="6144643"/>
                    <a:pt x="4229189" y="6125914"/>
                  </a:cubicBezTo>
                  <a:cubicBezTo>
                    <a:pt x="4387326" y="5978255"/>
                    <a:pt x="4528049" y="5812977"/>
                    <a:pt x="4652064" y="5641457"/>
                  </a:cubicBezTo>
                  <a:lnTo>
                    <a:pt x="4697555" y="5576516"/>
                  </a:lnTo>
                  <a:lnTo>
                    <a:pt x="4720492" y="5544537"/>
                  </a:lnTo>
                  <a:cubicBezTo>
                    <a:pt x="4728246" y="5533956"/>
                    <a:pt x="4734819" y="5522469"/>
                    <a:pt x="4741922" y="5511420"/>
                  </a:cubicBezTo>
                  <a:lnTo>
                    <a:pt x="4784179" y="5445022"/>
                  </a:lnTo>
                  <a:cubicBezTo>
                    <a:pt x="4787730" y="5439497"/>
                    <a:pt x="4791161" y="5433940"/>
                    <a:pt x="4794796" y="5428584"/>
                  </a:cubicBezTo>
                  <a:cubicBezTo>
                    <a:pt x="4798637" y="5423432"/>
                    <a:pt x="4803091" y="5418884"/>
                    <a:pt x="4807173" y="5413795"/>
                  </a:cubicBezTo>
                  <a:cubicBezTo>
                    <a:pt x="4815384" y="5403926"/>
                    <a:pt x="4822656" y="5393214"/>
                    <a:pt x="4830010" y="5382674"/>
                  </a:cubicBezTo>
                  <a:lnTo>
                    <a:pt x="4874298" y="5319323"/>
                  </a:lnTo>
                  <a:lnTo>
                    <a:pt x="4896484" y="5287734"/>
                  </a:lnTo>
                  <a:cubicBezTo>
                    <a:pt x="4903839" y="5277191"/>
                    <a:pt x="4911520" y="5266885"/>
                    <a:pt x="4918019" y="5255673"/>
                  </a:cubicBezTo>
                  <a:lnTo>
                    <a:pt x="4999238" y="5124058"/>
                  </a:lnTo>
                  <a:cubicBezTo>
                    <a:pt x="5102559" y="4945225"/>
                    <a:pt x="5185787" y="4753943"/>
                    <a:pt x="5251271" y="4554965"/>
                  </a:cubicBezTo>
                  <a:cubicBezTo>
                    <a:pt x="5259371" y="4530051"/>
                    <a:pt x="5268846" y="4505799"/>
                    <a:pt x="5276136" y="4480521"/>
                  </a:cubicBezTo>
                  <a:lnTo>
                    <a:pt x="5297442" y="4404389"/>
                  </a:lnTo>
                  <a:lnTo>
                    <a:pt x="5318953" y="4328458"/>
                  </a:lnTo>
                  <a:cubicBezTo>
                    <a:pt x="5322895" y="4315679"/>
                    <a:pt x="5325929" y="4303390"/>
                    <a:pt x="5328684" y="4291175"/>
                  </a:cubicBezTo>
                  <a:lnTo>
                    <a:pt x="5337470" y="4254522"/>
                  </a:lnTo>
                  <a:cubicBezTo>
                    <a:pt x="5343899" y="4230045"/>
                    <a:pt x="5348129" y="4205565"/>
                    <a:pt x="5353277" y="4181038"/>
                  </a:cubicBezTo>
                  <a:cubicBezTo>
                    <a:pt x="5358786" y="4156608"/>
                    <a:pt x="5362533" y="4132000"/>
                    <a:pt x="5366762" y="4107520"/>
                  </a:cubicBezTo>
                  <a:cubicBezTo>
                    <a:pt x="5368877" y="4095280"/>
                    <a:pt x="5371390" y="4083000"/>
                    <a:pt x="5373105" y="4070802"/>
                  </a:cubicBezTo>
                  <a:lnTo>
                    <a:pt x="5378288" y="4034066"/>
                  </a:lnTo>
                  <a:lnTo>
                    <a:pt x="5383471" y="3997331"/>
                  </a:lnTo>
                  <a:lnTo>
                    <a:pt x="5387373" y="3960547"/>
                  </a:lnTo>
                  <a:cubicBezTo>
                    <a:pt x="5408513" y="3764258"/>
                    <a:pt x="5404752" y="3567184"/>
                    <a:pt x="5375699" y="3369810"/>
                  </a:cubicBezTo>
                  <a:cubicBezTo>
                    <a:pt x="5347044" y="3172396"/>
                    <a:pt x="5293473" y="2975222"/>
                    <a:pt x="5225695" y="2777923"/>
                  </a:cubicBezTo>
                  <a:cubicBezTo>
                    <a:pt x="5157675" y="2580560"/>
                    <a:pt x="5075729" y="2382997"/>
                    <a:pt x="4989893" y="2181595"/>
                  </a:cubicBezTo>
                  <a:lnTo>
                    <a:pt x="4856777" y="1872581"/>
                  </a:lnTo>
                  <a:cubicBezTo>
                    <a:pt x="4811108" y="1763784"/>
                    <a:pt x="4768691" y="1655416"/>
                    <a:pt x="4729367" y="1547581"/>
                  </a:cubicBezTo>
                  <a:cubicBezTo>
                    <a:pt x="4650320" y="1331954"/>
                    <a:pt x="4585048" y="1118545"/>
                    <a:pt x="4510575" y="917244"/>
                  </a:cubicBezTo>
                  <a:cubicBezTo>
                    <a:pt x="4473339" y="816594"/>
                    <a:pt x="4433491" y="718925"/>
                    <a:pt x="4387446" y="626512"/>
                  </a:cubicBezTo>
                  <a:cubicBezTo>
                    <a:pt x="4341559" y="533993"/>
                    <a:pt x="4289352" y="446701"/>
                    <a:pt x="4227716" y="368510"/>
                  </a:cubicBezTo>
                  <a:cubicBezTo>
                    <a:pt x="4166554" y="290006"/>
                    <a:pt x="4096194" y="220222"/>
                    <a:pt x="4017774" y="161674"/>
                  </a:cubicBezTo>
                  <a:cubicBezTo>
                    <a:pt x="3939391" y="102989"/>
                    <a:pt x="3853034" y="55709"/>
                    <a:pt x="3761542" y="19860"/>
                  </a:cubicBezTo>
                  <a:lnTo>
                    <a:pt x="3727185" y="6533"/>
                  </a:lnTo>
                  <a:close/>
                  <a:moveTo>
                    <a:pt x="1325680" y="0"/>
                  </a:moveTo>
                  <a:lnTo>
                    <a:pt x="2347354" y="0"/>
                  </a:lnTo>
                  <a:lnTo>
                    <a:pt x="2262734" y="20581"/>
                  </a:lnTo>
                  <a:cubicBezTo>
                    <a:pt x="2164073" y="49233"/>
                    <a:pt x="2066423" y="82020"/>
                    <a:pt x="1969830" y="118108"/>
                  </a:cubicBezTo>
                  <a:cubicBezTo>
                    <a:pt x="1945675" y="127092"/>
                    <a:pt x="1921391" y="135598"/>
                    <a:pt x="1897367" y="145059"/>
                  </a:cubicBezTo>
                  <a:cubicBezTo>
                    <a:pt x="1873522" y="155302"/>
                    <a:pt x="1849679" y="165546"/>
                    <a:pt x="1825860" y="175210"/>
                  </a:cubicBezTo>
                  <a:lnTo>
                    <a:pt x="1754258" y="204746"/>
                  </a:lnTo>
                  <a:lnTo>
                    <a:pt x="1683442" y="237143"/>
                  </a:lnTo>
                  <a:cubicBezTo>
                    <a:pt x="1659851" y="247896"/>
                    <a:pt x="1636127" y="258172"/>
                    <a:pt x="1612330" y="268724"/>
                  </a:cubicBezTo>
                  <a:lnTo>
                    <a:pt x="1542244" y="303229"/>
                  </a:lnTo>
                  <a:lnTo>
                    <a:pt x="1471990" y="337395"/>
                  </a:lnTo>
                  <a:cubicBezTo>
                    <a:pt x="1448660" y="349103"/>
                    <a:pt x="1425927" y="362441"/>
                    <a:pt x="1402813" y="374794"/>
                  </a:cubicBezTo>
                  <a:lnTo>
                    <a:pt x="1333886" y="412702"/>
                  </a:lnTo>
                  <a:cubicBezTo>
                    <a:pt x="1310940" y="425394"/>
                    <a:pt x="1288842" y="440228"/>
                    <a:pt x="1266278" y="453907"/>
                  </a:cubicBezTo>
                  <a:lnTo>
                    <a:pt x="1199136" y="496266"/>
                  </a:lnTo>
                  <a:lnTo>
                    <a:pt x="1182302" y="506917"/>
                  </a:lnTo>
                  <a:lnTo>
                    <a:pt x="1166009" y="518449"/>
                  </a:lnTo>
                  <a:lnTo>
                    <a:pt x="1133302" y="541479"/>
                  </a:lnTo>
                  <a:lnTo>
                    <a:pt x="1067923" y="587403"/>
                  </a:lnTo>
                  <a:lnTo>
                    <a:pt x="1051509" y="598902"/>
                  </a:lnTo>
                  <a:lnTo>
                    <a:pt x="1035673" y="611145"/>
                  </a:lnTo>
                  <a:lnTo>
                    <a:pt x="1003878" y="635598"/>
                  </a:lnTo>
                  <a:cubicBezTo>
                    <a:pt x="961473" y="668248"/>
                    <a:pt x="918407" y="699983"/>
                    <a:pt x="877673" y="735582"/>
                  </a:cubicBezTo>
                  <a:cubicBezTo>
                    <a:pt x="711850" y="872792"/>
                    <a:pt x="555901" y="1026776"/>
                    <a:pt x="417533" y="1198720"/>
                  </a:cubicBezTo>
                  <a:cubicBezTo>
                    <a:pt x="278999" y="1370325"/>
                    <a:pt x="156917" y="1557820"/>
                    <a:pt x="54935" y="1756293"/>
                  </a:cubicBezTo>
                  <a:lnTo>
                    <a:pt x="17844" y="1831433"/>
                  </a:lnTo>
                  <a:lnTo>
                    <a:pt x="0" y="1869131"/>
                  </a:lnTo>
                  <a:lnTo>
                    <a:pt x="0" y="1198550"/>
                  </a:lnTo>
                  <a:lnTo>
                    <a:pt x="185957" y="961506"/>
                  </a:lnTo>
                  <a:cubicBezTo>
                    <a:pt x="342426" y="776600"/>
                    <a:pt x="509755" y="602849"/>
                    <a:pt x="689746" y="447064"/>
                  </a:cubicBezTo>
                  <a:cubicBezTo>
                    <a:pt x="733932" y="406795"/>
                    <a:pt x="780859" y="370795"/>
                    <a:pt x="827126" y="333881"/>
                  </a:cubicBezTo>
                  <a:cubicBezTo>
                    <a:pt x="872886" y="295949"/>
                    <a:pt x="921195" y="262526"/>
                    <a:pt x="968997" y="228085"/>
                  </a:cubicBezTo>
                  <a:lnTo>
                    <a:pt x="1004883" y="202373"/>
                  </a:lnTo>
                  <a:lnTo>
                    <a:pt x="1022826" y="189517"/>
                  </a:lnTo>
                  <a:lnTo>
                    <a:pt x="1041187" y="177509"/>
                  </a:lnTo>
                  <a:lnTo>
                    <a:pt x="1114760" y="129512"/>
                  </a:lnTo>
                  <a:cubicBezTo>
                    <a:pt x="1139435" y="113750"/>
                    <a:pt x="1163439" y="96630"/>
                    <a:pt x="1188498" y="81854"/>
                  </a:cubicBezTo>
                  <a:lnTo>
                    <a:pt x="1263461" y="36880"/>
                  </a:ln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D01D44A9-1D51-461B-A228-06F6C500B0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369"/>
              <a:ext cx="6055600" cy="6858000"/>
            </a:xfrm>
            <a:custGeom>
              <a:avLst/>
              <a:gdLst>
                <a:gd name="connsiteX0" fmla="*/ 0 w 6055600"/>
                <a:gd name="connsiteY0" fmla="*/ 5960220 h 6858000"/>
                <a:gd name="connsiteX1" fmla="*/ 36039 w 6055600"/>
                <a:gd name="connsiteY1" fmla="*/ 6002605 h 6858000"/>
                <a:gd name="connsiteX2" fmla="*/ 92950 w 6055600"/>
                <a:gd name="connsiteY2" fmla="*/ 6059050 h 6858000"/>
                <a:gd name="connsiteX3" fmla="*/ 153706 w 6055600"/>
                <a:gd name="connsiteY3" fmla="*/ 6111427 h 6858000"/>
                <a:gd name="connsiteX4" fmla="*/ 216806 w 6055600"/>
                <a:gd name="connsiteY4" fmla="*/ 6161603 h 6858000"/>
                <a:gd name="connsiteX5" fmla="*/ 281945 w 6055600"/>
                <a:gd name="connsiteY5" fmla="*/ 6209777 h 6858000"/>
                <a:gd name="connsiteX6" fmla="*/ 553337 w 6055600"/>
                <a:gd name="connsiteY6" fmla="*/ 6391500 h 6858000"/>
                <a:gd name="connsiteX7" fmla="*/ 690543 w 6055600"/>
                <a:gd name="connsiteY7" fmla="*/ 6481634 h 6858000"/>
                <a:gd name="connsiteX8" fmla="*/ 827127 w 6055600"/>
                <a:gd name="connsiteY8" fmla="*/ 6573159 h 6858000"/>
                <a:gd name="connsiteX9" fmla="*/ 1095915 w 6055600"/>
                <a:gd name="connsiteY9" fmla="*/ 6762202 h 6858000"/>
                <a:gd name="connsiteX10" fmla="*/ 1224853 w 6055600"/>
                <a:gd name="connsiteY10" fmla="*/ 6858000 h 6858000"/>
                <a:gd name="connsiteX11" fmla="*/ 1154072 w 6055600"/>
                <a:gd name="connsiteY11" fmla="*/ 6858000 h 6858000"/>
                <a:gd name="connsiteX12" fmla="*/ 1073489 w 6055600"/>
                <a:gd name="connsiteY12" fmla="*/ 6799140 h 6858000"/>
                <a:gd name="connsiteX13" fmla="*/ 800175 w 6055600"/>
                <a:gd name="connsiteY13" fmla="*/ 6620441 h 6858000"/>
                <a:gd name="connsiteX14" fmla="*/ 231518 w 6055600"/>
                <a:gd name="connsiteY14" fmla="*/ 6299323 h 6858000"/>
                <a:gd name="connsiteX15" fmla="*/ 160401 w 6055600"/>
                <a:gd name="connsiteY15" fmla="*/ 6256627 h 6858000"/>
                <a:gd name="connsiteX16" fmla="*/ 89697 w 6055600"/>
                <a:gd name="connsiteY16" fmla="*/ 6211916 h 6858000"/>
                <a:gd name="connsiteX17" fmla="*/ 20148 w 6055600"/>
                <a:gd name="connsiteY17" fmla="*/ 6163835 h 6858000"/>
                <a:gd name="connsiteX18" fmla="*/ 0 w 6055600"/>
                <a:gd name="connsiteY18" fmla="*/ 6147796 h 6858000"/>
                <a:gd name="connsiteX19" fmla="*/ 3748345 w 6055600"/>
                <a:gd name="connsiteY19" fmla="*/ 0 h 6858000"/>
                <a:gd name="connsiteX20" fmla="*/ 4277792 w 6055600"/>
                <a:gd name="connsiteY20" fmla="*/ 0 h 6858000"/>
                <a:gd name="connsiteX21" fmla="*/ 4339531 w 6055600"/>
                <a:gd name="connsiteY21" fmla="*/ 40262 h 6858000"/>
                <a:gd name="connsiteX22" fmla="*/ 4476306 w 6055600"/>
                <a:gd name="connsiteY22" fmla="*/ 153922 h 6858000"/>
                <a:gd name="connsiteX23" fmla="*/ 4713639 w 6055600"/>
                <a:gd name="connsiteY23" fmla="*/ 422076 h 6858000"/>
                <a:gd name="connsiteX24" fmla="*/ 4906991 w 6055600"/>
                <a:gd name="connsiteY24" fmla="*/ 723463 h 6858000"/>
                <a:gd name="connsiteX25" fmla="*/ 5070511 w 6055600"/>
                <a:gd name="connsiteY25" fmla="*/ 1037524 h 6858000"/>
                <a:gd name="connsiteX26" fmla="*/ 5219493 w 6055600"/>
                <a:gd name="connsiteY26" fmla="*/ 1352079 h 6858000"/>
                <a:gd name="connsiteX27" fmla="*/ 5367779 w 6055600"/>
                <a:gd name="connsiteY27" fmla="*/ 1658945 h 6858000"/>
                <a:gd name="connsiteX28" fmla="*/ 5446095 w 6055600"/>
                <a:gd name="connsiteY28" fmla="*/ 1811301 h 6858000"/>
                <a:gd name="connsiteX29" fmla="*/ 5525115 w 6055600"/>
                <a:gd name="connsiteY29" fmla="*/ 1967103 h 6858000"/>
                <a:gd name="connsiteX30" fmla="*/ 5816642 w 6055600"/>
                <a:gd name="connsiteY30" fmla="*/ 2618837 h 6858000"/>
                <a:gd name="connsiteX31" fmla="*/ 6015787 w 6055600"/>
                <a:gd name="connsiteY31" fmla="*/ 3339957 h 6858000"/>
                <a:gd name="connsiteX32" fmla="*/ 6054206 w 6055600"/>
                <a:gd name="connsiteY32" fmla="*/ 3727239 h 6858000"/>
                <a:gd name="connsiteX33" fmla="*/ 6039811 w 6055600"/>
                <a:gd name="connsiteY33" fmla="*/ 4122735 h 6858000"/>
                <a:gd name="connsiteX34" fmla="*/ 5971601 w 6055600"/>
                <a:gd name="connsiteY34" fmla="*/ 4514288 h 6858000"/>
                <a:gd name="connsiteX35" fmla="*/ 5946751 w 6055600"/>
                <a:gd name="connsiteY35" fmla="*/ 4609838 h 6858000"/>
                <a:gd name="connsiteX36" fmla="*/ 5919986 w 6055600"/>
                <a:gd name="connsiteY36" fmla="*/ 4703178 h 6858000"/>
                <a:gd name="connsiteX37" fmla="*/ 5890731 w 6055600"/>
                <a:gd name="connsiteY37" fmla="*/ 4795992 h 6858000"/>
                <a:gd name="connsiteX38" fmla="*/ 5859058 w 6055600"/>
                <a:gd name="connsiteY38" fmla="*/ 4888015 h 6858000"/>
                <a:gd name="connsiteX39" fmla="*/ 5525053 w 6055600"/>
                <a:gd name="connsiteY39" fmla="*/ 5588449 h 6858000"/>
                <a:gd name="connsiteX40" fmla="*/ 5058962 w 6055600"/>
                <a:gd name="connsiteY40" fmla="*/ 6189929 h 6858000"/>
                <a:gd name="connsiteX41" fmla="*/ 4787706 w 6055600"/>
                <a:gd name="connsiteY41" fmla="*/ 6442985 h 6858000"/>
                <a:gd name="connsiteX42" fmla="*/ 4498686 w 6055600"/>
                <a:gd name="connsiteY42" fmla="*/ 6663678 h 6858000"/>
                <a:gd name="connsiteX43" fmla="*/ 4197167 w 6055600"/>
                <a:gd name="connsiteY43" fmla="*/ 6854053 h 6858000"/>
                <a:gd name="connsiteX44" fmla="*/ 4189720 w 6055600"/>
                <a:gd name="connsiteY44" fmla="*/ 6858000 h 6858000"/>
                <a:gd name="connsiteX45" fmla="*/ 3651929 w 6055600"/>
                <a:gd name="connsiteY45" fmla="*/ 6858000 h 6858000"/>
                <a:gd name="connsiteX46" fmla="*/ 3789040 w 6055600"/>
                <a:gd name="connsiteY46" fmla="*/ 6778034 h 6858000"/>
                <a:gd name="connsiteX47" fmla="*/ 4335568 w 6055600"/>
                <a:gd name="connsiteY47" fmla="*/ 6382709 h 6858000"/>
                <a:gd name="connsiteX48" fmla="*/ 4586923 w 6055600"/>
                <a:gd name="connsiteY48" fmla="*/ 6158577 h 6858000"/>
                <a:gd name="connsiteX49" fmla="*/ 4819585 w 6055600"/>
                <a:gd name="connsiteY49" fmla="*/ 5915847 h 6858000"/>
                <a:gd name="connsiteX50" fmla="*/ 5214727 w 6055600"/>
                <a:gd name="connsiteY50" fmla="*/ 5371094 h 6858000"/>
                <a:gd name="connsiteX51" fmla="*/ 5495409 w 6055600"/>
                <a:gd name="connsiteY51" fmla="*/ 4752778 h 6858000"/>
                <a:gd name="connsiteX52" fmla="*/ 5522322 w 6055600"/>
                <a:gd name="connsiteY52" fmla="*/ 4671511 h 6858000"/>
                <a:gd name="connsiteX53" fmla="*/ 5547631 w 6055600"/>
                <a:gd name="connsiteY53" fmla="*/ 4589675 h 6858000"/>
                <a:gd name="connsiteX54" fmla="*/ 5570792 w 6055600"/>
                <a:gd name="connsiteY54" fmla="*/ 4506978 h 6858000"/>
                <a:gd name="connsiteX55" fmla="*/ 5591541 w 6055600"/>
                <a:gd name="connsiteY55" fmla="*/ 4425334 h 6858000"/>
                <a:gd name="connsiteX56" fmla="*/ 5649500 w 6055600"/>
                <a:gd name="connsiteY56" fmla="*/ 4097286 h 6858000"/>
                <a:gd name="connsiteX57" fmla="*/ 5637615 w 6055600"/>
                <a:gd name="connsiteY57" fmla="*/ 3437524 h 6858000"/>
                <a:gd name="connsiteX58" fmla="*/ 5475454 w 6055600"/>
                <a:gd name="connsiteY58" fmla="*/ 2791575 h 6858000"/>
                <a:gd name="connsiteX59" fmla="*/ 5217600 w 6055600"/>
                <a:gd name="connsiteY59" fmla="*/ 2164719 h 6858000"/>
                <a:gd name="connsiteX60" fmla="*/ 5144941 w 6055600"/>
                <a:gd name="connsiteY60" fmla="*/ 2009490 h 6858000"/>
                <a:gd name="connsiteX61" fmla="*/ 5070052 w 6055600"/>
                <a:gd name="connsiteY61" fmla="*/ 1851823 h 6858000"/>
                <a:gd name="connsiteX62" fmla="*/ 4926984 w 6055600"/>
                <a:gd name="connsiteY62" fmla="*/ 1529226 h 6858000"/>
                <a:gd name="connsiteX63" fmla="*/ 4790925 w 6055600"/>
                <a:gd name="connsiteY63" fmla="*/ 1209923 h 6858000"/>
                <a:gd name="connsiteX64" fmla="*/ 4650559 w 6055600"/>
                <a:gd name="connsiteY64" fmla="*/ 902490 h 6858000"/>
                <a:gd name="connsiteX65" fmla="*/ 4491930 w 6055600"/>
                <a:gd name="connsiteY65" fmla="*/ 616919 h 6858000"/>
                <a:gd name="connsiteX66" fmla="*/ 4302323 w 6055600"/>
                <a:gd name="connsiteY66" fmla="*/ 366083 h 6858000"/>
                <a:gd name="connsiteX67" fmla="*/ 4072203 w 6055600"/>
                <a:gd name="connsiteY67" fmla="*/ 164982 h 6858000"/>
                <a:gd name="connsiteX68" fmla="*/ 3803964 w 6055600"/>
                <a:gd name="connsiteY68" fmla="*/ 21052 h 6858000"/>
                <a:gd name="connsiteX69" fmla="*/ 3768314 w 6055600"/>
                <a:gd name="connsiteY69" fmla="*/ 6826 h 6858000"/>
                <a:gd name="connsiteX70" fmla="*/ 1589779 w 6055600"/>
                <a:gd name="connsiteY70" fmla="*/ 0 h 6858000"/>
                <a:gd name="connsiteX71" fmla="*/ 1918056 w 6055600"/>
                <a:gd name="connsiteY71" fmla="*/ 0 h 6858000"/>
                <a:gd name="connsiteX72" fmla="*/ 1764243 w 6055600"/>
                <a:gd name="connsiteY72" fmla="*/ 55145 h 6858000"/>
                <a:gd name="connsiteX73" fmla="*/ 1313330 w 6055600"/>
                <a:gd name="connsiteY73" fmla="*/ 274424 h 6858000"/>
                <a:gd name="connsiteX74" fmla="*/ 295673 w 6055600"/>
                <a:gd name="connsiteY74" fmla="*/ 1187630 h 6858000"/>
                <a:gd name="connsiteX75" fmla="*/ 96207 w 6055600"/>
                <a:gd name="connsiteY75" fmla="*/ 1474327 h 6858000"/>
                <a:gd name="connsiteX76" fmla="*/ 0 w 6055600"/>
                <a:gd name="connsiteY76" fmla="*/ 1641460 h 6858000"/>
                <a:gd name="connsiteX77" fmla="*/ 0 w 6055600"/>
                <a:gd name="connsiteY77" fmla="*/ 1224218 h 6858000"/>
                <a:gd name="connsiteX78" fmla="*/ 150937 w 6055600"/>
                <a:gd name="connsiteY78" fmla="*/ 1040975 h 6858000"/>
                <a:gd name="connsiteX79" fmla="*/ 1264907 w 6055600"/>
                <a:gd name="connsiteY79" fmla="*/ 158248 h 6858000"/>
                <a:gd name="connsiteX80" fmla="*/ 1575167 w 6055600"/>
                <a:gd name="connsiteY80" fmla="*/ 567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6055600" h="6858000">
                  <a:moveTo>
                    <a:pt x="0" y="5960220"/>
                  </a:moveTo>
                  <a:lnTo>
                    <a:pt x="36039" y="6002605"/>
                  </a:lnTo>
                  <a:cubicBezTo>
                    <a:pt x="54896" y="6021530"/>
                    <a:pt x="73635" y="6040425"/>
                    <a:pt x="92950" y="6059050"/>
                  </a:cubicBezTo>
                  <a:lnTo>
                    <a:pt x="153706" y="6111427"/>
                  </a:lnTo>
                  <a:cubicBezTo>
                    <a:pt x="173546" y="6129485"/>
                    <a:pt x="195722" y="6144912"/>
                    <a:pt x="216806" y="6161603"/>
                  </a:cubicBezTo>
                  <a:cubicBezTo>
                    <a:pt x="238229" y="6177961"/>
                    <a:pt x="259466" y="6194551"/>
                    <a:pt x="281945" y="6209777"/>
                  </a:cubicBezTo>
                  <a:cubicBezTo>
                    <a:pt x="369940" y="6272709"/>
                    <a:pt x="461791" y="6332004"/>
                    <a:pt x="553337" y="6391500"/>
                  </a:cubicBezTo>
                  <a:lnTo>
                    <a:pt x="690543" y="6481634"/>
                  </a:lnTo>
                  <a:lnTo>
                    <a:pt x="827127" y="6573159"/>
                  </a:lnTo>
                  <a:cubicBezTo>
                    <a:pt x="917674" y="6634511"/>
                    <a:pt x="1007156" y="6697737"/>
                    <a:pt x="1095915" y="6762202"/>
                  </a:cubicBezTo>
                  <a:lnTo>
                    <a:pt x="1224853" y="6858000"/>
                  </a:lnTo>
                  <a:lnTo>
                    <a:pt x="1154072" y="6858000"/>
                  </a:lnTo>
                  <a:lnTo>
                    <a:pt x="1073489" y="6799140"/>
                  </a:lnTo>
                  <a:cubicBezTo>
                    <a:pt x="983882" y="6736908"/>
                    <a:pt x="892851" y="6677125"/>
                    <a:pt x="800175" y="6620441"/>
                  </a:cubicBezTo>
                  <a:cubicBezTo>
                    <a:pt x="615108" y="6506015"/>
                    <a:pt x="422939" y="6407807"/>
                    <a:pt x="231518" y="6299323"/>
                  </a:cubicBezTo>
                  <a:cubicBezTo>
                    <a:pt x="207467" y="6286226"/>
                    <a:pt x="184098" y="6271045"/>
                    <a:pt x="160401" y="6256627"/>
                  </a:cubicBezTo>
                  <a:cubicBezTo>
                    <a:pt x="136809" y="6241811"/>
                    <a:pt x="112558" y="6228518"/>
                    <a:pt x="89697" y="6211916"/>
                  </a:cubicBezTo>
                  <a:lnTo>
                    <a:pt x="20148" y="6163835"/>
                  </a:lnTo>
                  <a:lnTo>
                    <a:pt x="0" y="6147796"/>
                  </a:lnTo>
                  <a:close/>
                  <a:moveTo>
                    <a:pt x="3748345" y="0"/>
                  </a:moveTo>
                  <a:lnTo>
                    <a:pt x="4277792" y="0"/>
                  </a:lnTo>
                  <a:lnTo>
                    <a:pt x="4339531" y="40262"/>
                  </a:lnTo>
                  <a:cubicBezTo>
                    <a:pt x="4386991" y="75346"/>
                    <a:pt x="4432680" y="113353"/>
                    <a:pt x="4476306" y="153922"/>
                  </a:cubicBezTo>
                  <a:cubicBezTo>
                    <a:pt x="4563779" y="234693"/>
                    <a:pt x="4642423" y="325982"/>
                    <a:pt x="4713639" y="422076"/>
                  </a:cubicBezTo>
                  <a:cubicBezTo>
                    <a:pt x="4784481" y="518635"/>
                    <a:pt x="4848552" y="619893"/>
                    <a:pt x="4906991" y="723463"/>
                  </a:cubicBezTo>
                  <a:cubicBezTo>
                    <a:pt x="4965582" y="826932"/>
                    <a:pt x="5019421" y="932243"/>
                    <a:pt x="5070511" y="1037524"/>
                  </a:cubicBezTo>
                  <a:cubicBezTo>
                    <a:pt x="5121871" y="1142738"/>
                    <a:pt x="5170833" y="1248016"/>
                    <a:pt x="5219493" y="1352079"/>
                  </a:cubicBezTo>
                  <a:cubicBezTo>
                    <a:pt x="5268459" y="1455943"/>
                    <a:pt x="5317204" y="1558756"/>
                    <a:pt x="5367779" y="1658945"/>
                  </a:cubicBezTo>
                  <a:lnTo>
                    <a:pt x="5446095" y="1811301"/>
                  </a:lnTo>
                  <a:cubicBezTo>
                    <a:pt x="5472584" y="1862992"/>
                    <a:pt x="5498885" y="1914915"/>
                    <a:pt x="5525115" y="1967103"/>
                  </a:cubicBezTo>
                  <a:cubicBezTo>
                    <a:pt x="5629428" y="2176256"/>
                    <a:pt x="5730254" y="2391411"/>
                    <a:pt x="5816642" y="2618837"/>
                  </a:cubicBezTo>
                  <a:cubicBezTo>
                    <a:pt x="5902562" y="2846137"/>
                    <a:pt x="5974641" y="3086291"/>
                    <a:pt x="6015787" y="3339957"/>
                  </a:cubicBezTo>
                  <a:cubicBezTo>
                    <a:pt x="6036373" y="3466512"/>
                    <a:pt x="6050262" y="3596084"/>
                    <a:pt x="6054206" y="3727239"/>
                  </a:cubicBezTo>
                  <a:cubicBezTo>
                    <a:pt x="6058266" y="3858425"/>
                    <a:pt x="6053460" y="3990915"/>
                    <a:pt x="6039811" y="4122735"/>
                  </a:cubicBezTo>
                  <a:cubicBezTo>
                    <a:pt x="6026397" y="4254618"/>
                    <a:pt x="6002552" y="4385688"/>
                    <a:pt x="5971601" y="4514288"/>
                  </a:cubicBezTo>
                  <a:cubicBezTo>
                    <a:pt x="5963342" y="4546050"/>
                    <a:pt x="5955885" y="4579019"/>
                    <a:pt x="5946751" y="4609838"/>
                  </a:cubicBezTo>
                  <a:lnTo>
                    <a:pt x="5919986" y="4703178"/>
                  </a:lnTo>
                  <a:lnTo>
                    <a:pt x="5890731" y="4795992"/>
                  </a:lnTo>
                  <a:cubicBezTo>
                    <a:pt x="5880825" y="4826888"/>
                    <a:pt x="5869667" y="4857307"/>
                    <a:pt x="5859058" y="4888015"/>
                  </a:cubicBezTo>
                  <a:cubicBezTo>
                    <a:pt x="5772112" y="5132558"/>
                    <a:pt x="5660551" y="5369373"/>
                    <a:pt x="5525053" y="5588449"/>
                  </a:cubicBezTo>
                  <a:cubicBezTo>
                    <a:pt x="5389674" y="5807557"/>
                    <a:pt x="5232835" y="6010440"/>
                    <a:pt x="5058962" y="6189929"/>
                  </a:cubicBezTo>
                  <a:cubicBezTo>
                    <a:pt x="4972125" y="6279771"/>
                    <a:pt x="4880998" y="6363650"/>
                    <a:pt x="4787706" y="6442985"/>
                  </a:cubicBezTo>
                  <a:cubicBezTo>
                    <a:pt x="4693655" y="6521410"/>
                    <a:pt x="4597439" y="6595290"/>
                    <a:pt x="4498686" y="6663678"/>
                  </a:cubicBezTo>
                  <a:cubicBezTo>
                    <a:pt x="4399893" y="6731984"/>
                    <a:pt x="4299240" y="6795191"/>
                    <a:pt x="4197167" y="6854053"/>
                  </a:cubicBezTo>
                  <a:lnTo>
                    <a:pt x="4189720" y="6858000"/>
                  </a:lnTo>
                  <a:lnTo>
                    <a:pt x="3651929" y="6858000"/>
                  </a:lnTo>
                  <a:lnTo>
                    <a:pt x="3789040" y="6778034"/>
                  </a:lnTo>
                  <a:cubicBezTo>
                    <a:pt x="3978462" y="6656931"/>
                    <a:pt x="4162446" y="6525734"/>
                    <a:pt x="4335568" y="6382709"/>
                  </a:cubicBezTo>
                  <a:cubicBezTo>
                    <a:pt x="4422084" y="6310901"/>
                    <a:pt x="4506335" y="6236787"/>
                    <a:pt x="4586923" y="6158577"/>
                  </a:cubicBezTo>
                  <a:cubicBezTo>
                    <a:pt x="4668153" y="6081248"/>
                    <a:pt x="4745649" y="6000086"/>
                    <a:pt x="4819585" y="5915847"/>
                  </a:cubicBezTo>
                  <a:cubicBezTo>
                    <a:pt x="4967573" y="5747401"/>
                    <a:pt x="5101426" y="5566247"/>
                    <a:pt x="5214727" y="5371094"/>
                  </a:cubicBezTo>
                  <a:cubicBezTo>
                    <a:pt x="5327795" y="5175879"/>
                    <a:pt x="5421090" y="4968427"/>
                    <a:pt x="5495409" y="4752778"/>
                  </a:cubicBezTo>
                  <a:cubicBezTo>
                    <a:pt x="5504291" y="4725712"/>
                    <a:pt x="5513872" y="4698834"/>
                    <a:pt x="5522322" y="4671511"/>
                  </a:cubicBezTo>
                  <a:lnTo>
                    <a:pt x="5547631" y="4589675"/>
                  </a:lnTo>
                  <a:lnTo>
                    <a:pt x="5570792" y="4506978"/>
                  </a:lnTo>
                  <a:cubicBezTo>
                    <a:pt x="5578845" y="4479265"/>
                    <a:pt x="5584485" y="4452605"/>
                    <a:pt x="5591541" y="4425334"/>
                  </a:cubicBezTo>
                  <a:cubicBezTo>
                    <a:pt x="5618002" y="4316765"/>
                    <a:pt x="5636850" y="4207148"/>
                    <a:pt x="5649500" y="4097286"/>
                  </a:cubicBezTo>
                  <a:cubicBezTo>
                    <a:pt x="5674602" y="3877368"/>
                    <a:pt x="5668749" y="3656091"/>
                    <a:pt x="5637615" y="3437524"/>
                  </a:cubicBezTo>
                  <a:cubicBezTo>
                    <a:pt x="5605861" y="3218934"/>
                    <a:pt x="5549060" y="3003118"/>
                    <a:pt x="5475454" y="2791575"/>
                  </a:cubicBezTo>
                  <a:cubicBezTo>
                    <a:pt x="5402070" y="2579668"/>
                    <a:pt x="5313111" y="2371656"/>
                    <a:pt x="5217600" y="2164719"/>
                  </a:cubicBezTo>
                  <a:cubicBezTo>
                    <a:pt x="5193627" y="2112994"/>
                    <a:pt x="5169419" y="2061207"/>
                    <a:pt x="5144941" y="2009490"/>
                  </a:cubicBezTo>
                  <a:lnTo>
                    <a:pt x="5070052" y="1851823"/>
                  </a:lnTo>
                  <a:cubicBezTo>
                    <a:pt x="5020031" y="1744421"/>
                    <a:pt x="4972748" y="1636620"/>
                    <a:pt x="4926984" y="1529226"/>
                  </a:cubicBezTo>
                  <a:lnTo>
                    <a:pt x="4790925" y="1209923"/>
                  </a:lnTo>
                  <a:cubicBezTo>
                    <a:pt x="4745458" y="1105158"/>
                    <a:pt x="4699567" y="1001976"/>
                    <a:pt x="4650559" y="902490"/>
                  </a:cubicBezTo>
                  <a:cubicBezTo>
                    <a:pt x="4601243" y="803205"/>
                    <a:pt x="4549606" y="706978"/>
                    <a:pt x="4491930" y="616919"/>
                  </a:cubicBezTo>
                  <a:cubicBezTo>
                    <a:pt x="4434712" y="526559"/>
                    <a:pt x="4372370" y="441762"/>
                    <a:pt x="4302323" y="366083"/>
                  </a:cubicBezTo>
                  <a:cubicBezTo>
                    <a:pt x="4232428" y="290304"/>
                    <a:pt x="4155542" y="222846"/>
                    <a:pt x="4072203" y="164982"/>
                  </a:cubicBezTo>
                  <a:cubicBezTo>
                    <a:pt x="3988864" y="107118"/>
                    <a:pt x="3898693" y="59316"/>
                    <a:pt x="3803964" y="21052"/>
                  </a:cubicBezTo>
                  <a:lnTo>
                    <a:pt x="3768314" y="6826"/>
                  </a:lnTo>
                  <a:close/>
                  <a:moveTo>
                    <a:pt x="1589779" y="0"/>
                  </a:moveTo>
                  <a:lnTo>
                    <a:pt x="1918056" y="0"/>
                  </a:lnTo>
                  <a:lnTo>
                    <a:pt x="1764243" y="55145"/>
                  </a:lnTo>
                  <a:cubicBezTo>
                    <a:pt x="1609764" y="115414"/>
                    <a:pt x="1458840" y="188978"/>
                    <a:pt x="1313330" y="274424"/>
                  </a:cubicBezTo>
                  <a:cubicBezTo>
                    <a:pt x="924625" y="501532"/>
                    <a:pt x="576885" y="817476"/>
                    <a:pt x="295673" y="1187630"/>
                  </a:cubicBezTo>
                  <a:cubicBezTo>
                    <a:pt x="225216" y="1280162"/>
                    <a:pt x="158640" y="1375858"/>
                    <a:pt x="96207" y="1474327"/>
                  </a:cubicBezTo>
                  <a:lnTo>
                    <a:pt x="0" y="1641460"/>
                  </a:lnTo>
                  <a:lnTo>
                    <a:pt x="0" y="1224218"/>
                  </a:lnTo>
                  <a:lnTo>
                    <a:pt x="150937" y="1040975"/>
                  </a:lnTo>
                  <a:cubicBezTo>
                    <a:pt x="478530" y="677729"/>
                    <a:pt x="858178" y="381092"/>
                    <a:pt x="1264907" y="158248"/>
                  </a:cubicBezTo>
                  <a:cubicBezTo>
                    <a:pt x="1366631" y="102619"/>
                    <a:pt x="1470177" y="51760"/>
                    <a:pt x="1575167" y="567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1" name="Picture 23" descr="Icon&#10;&#10;Description automatically generated">
            <a:extLst>
              <a:ext uri="{FF2B5EF4-FFF2-40B4-BE49-F238E27FC236}">
                <a16:creationId xmlns:a16="http://schemas.microsoft.com/office/drawing/2014/main" id="{919F4A83-EA32-8228-6952-8975D31250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437" y="2150050"/>
            <a:ext cx="3785616" cy="2887084"/>
          </a:xfrm>
          <a:prstGeom prst="rect">
            <a:avLst/>
          </a:prstGeom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6588EAE-C479-C319-45DF-0BEBF71755DC}"/>
              </a:ext>
            </a:extLst>
          </p:cNvPr>
          <p:cNvSpPr txBox="1"/>
          <p:nvPr/>
        </p:nvSpPr>
        <p:spPr>
          <a:xfrm>
            <a:off x="5570905" y="1645427"/>
            <a:ext cx="6202763" cy="5098701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ec.gov/ix?doc=/Archives/edgar/data/0001559720/000155972023000003/abnb-20221231.htm</a:t>
            </a:r>
            <a:endParaRPr lang="en-US" sz="1400">
              <a:solidFill>
                <a:srgbClr val="000000"/>
              </a:solidFill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eekingalpha.com/article/4559301-airbnb-a-revolutionary-company-set-to-outperform-the-market</a:t>
            </a:r>
            <a:endParaRPr lang="en-US" sz="1400">
              <a:solidFill>
                <a:srgbClr val="000000"/>
              </a:solidFill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ea typeface="+mn-lt"/>
                <a:cs typeface="+mn-lt"/>
              </a:rPr>
              <a:t>https://www.sec.gov/Archives/edgar/data/1559720/000119312520294801/d81668ds1.htm#toc81668_9</a:t>
            </a:r>
            <a:endParaRPr lang="en-US" sz="1400">
              <a:solidFill>
                <a:srgbClr val="000000"/>
              </a:solidFill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irbnb - Wikipedia</a:t>
            </a:r>
            <a:endParaRPr lang="en-US" sz="1400">
              <a:solidFill>
                <a:srgbClr val="000000"/>
              </a:solidFill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16cM-RFid9U</a:t>
            </a:r>
            <a:endParaRPr lang="en-US" sz="1400">
              <a:solidFill>
                <a:srgbClr val="000000"/>
              </a:solidFill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22 Airbnb strategy | Rental Scale-Up (rentalscaleup.com)</a:t>
            </a:r>
            <a:endParaRPr lang="en-US" sz="1400">
              <a:solidFill>
                <a:srgbClr val="000000"/>
              </a:solidFill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irbnb Unveils Roadmap to Bring Magical Travel to Everyone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ea typeface="+mn-lt"/>
                <a:cs typeface="+mn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ec.gov/ix?doc=/Archives/edgar/data/0001324424/000132442423000007/expe-20221231.htm</a:t>
            </a:r>
            <a:endParaRPr lang="en-US" sz="1400">
              <a:hlinkClick r:id="rId9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ea typeface="+mn-lt"/>
                <a:cs typeface="+mn-l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ec.gov/ix?doc=/Archives/edgar/data/0001075531/000107553123000016/bkng-20221231.htm</a:t>
            </a:r>
            <a:endParaRPr lang="en-US" sz="140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ea typeface="+mn-lt"/>
                <a:cs typeface="+mn-lt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ntalscaleup.com/airbnb-2022-summer-update-release/</a:t>
            </a:r>
            <a:endParaRPr lang="en-US" sz="1400">
              <a:hlinkClick r:id="rId1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rgbClr val="000000"/>
              </a:solidFill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rgbClr val="000000"/>
              </a:solidFill>
            </a:endParaRPr>
          </a:p>
        </p:txBody>
      </p:sp>
      <p:pic>
        <p:nvPicPr>
          <p:cNvPr id="17" name="Picture 20" descr="Icon&#10;&#10;Description automatically generated">
            <a:extLst>
              <a:ext uri="{FF2B5EF4-FFF2-40B4-BE49-F238E27FC236}">
                <a16:creationId xmlns:a16="http://schemas.microsoft.com/office/drawing/2014/main" id="{7B82E346-33F1-D383-BD81-298B71C08E1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9887" y="524918"/>
            <a:ext cx="783432" cy="754857"/>
          </a:xfrm>
          <a:prstGeom prst="rect">
            <a:avLst/>
          </a:prstGeom>
        </p:spPr>
      </p:pic>
      <p:sp>
        <p:nvSpPr>
          <p:cNvPr id="43" name="Title 116">
            <a:extLst>
              <a:ext uri="{FF2B5EF4-FFF2-40B4-BE49-F238E27FC236}">
                <a16:creationId xmlns:a16="http://schemas.microsoft.com/office/drawing/2014/main" id="{24BC84F9-5032-2AC4-6880-0F34F1B0E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8945" y="522604"/>
            <a:ext cx="10214484" cy="748780"/>
          </a:xfrm>
        </p:spPr>
        <p:txBody>
          <a:bodyPr/>
          <a:lstStyle/>
          <a:p>
            <a:r>
              <a:rPr lang="en-US" sz="320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8554494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F001DA12-B9B9-0711-D41F-C13061C0D5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065" y="1455929"/>
            <a:ext cx="5459470" cy="409460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0F07B19-B397-A135-7558-9B4FC2B29A50}"/>
              </a:ext>
            </a:extLst>
          </p:cNvPr>
          <p:cNvSpPr txBox="1"/>
          <p:nvPr/>
        </p:nvSpPr>
        <p:spPr>
          <a:xfrm>
            <a:off x="7710949" y="3126658"/>
            <a:ext cx="3628103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400" b="1">
                <a:solidFill>
                  <a:srgbClr val="FFFFFF"/>
                </a:solidFill>
                <a:latin typeface="Circular"/>
              </a:rPr>
              <a:t>THANK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319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4" name="Rectangle 50">
            <a:extLst>
              <a:ext uri="{FF2B5EF4-FFF2-40B4-BE49-F238E27FC236}">
                <a16:creationId xmlns:a16="http://schemas.microsoft.com/office/drawing/2014/main" id="{0E3596DD-156A-473E-9BB3-C6A29F757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Freeform: Shape 52">
            <a:extLst>
              <a:ext uri="{FF2B5EF4-FFF2-40B4-BE49-F238E27FC236}">
                <a16:creationId xmlns:a16="http://schemas.microsoft.com/office/drawing/2014/main" id="{2C46C4D6-C474-4E92-B52E-944C1118F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962785" cy="6858000"/>
          </a:xfrm>
          <a:custGeom>
            <a:avLst/>
            <a:gdLst>
              <a:gd name="connsiteX0" fmla="*/ 1044839 w 5962785"/>
              <a:gd name="connsiteY0" fmla="*/ 0 h 6858000"/>
              <a:gd name="connsiteX1" fmla="*/ 5962785 w 5962785"/>
              <a:gd name="connsiteY1" fmla="*/ 0 h 6858000"/>
              <a:gd name="connsiteX2" fmla="*/ 5962785 w 5962785"/>
              <a:gd name="connsiteY2" fmla="*/ 6858000 h 6858000"/>
              <a:gd name="connsiteX3" fmla="*/ 1469886 w 5962785"/>
              <a:gd name="connsiteY3" fmla="*/ 6858000 h 6858000"/>
              <a:gd name="connsiteX4" fmla="*/ 1416006 w 5962785"/>
              <a:gd name="connsiteY4" fmla="*/ 6823984 h 6858000"/>
              <a:gd name="connsiteX5" fmla="*/ 1232473 w 5962785"/>
              <a:gd name="connsiteY5" fmla="*/ 6733873 h 6858000"/>
              <a:gd name="connsiteX6" fmla="*/ 1075471 w 5962785"/>
              <a:gd name="connsiteY6" fmla="*/ 6503186 h 6858000"/>
              <a:gd name="connsiteX7" fmla="*/ 1020229 w 5962785"/>
              <a:gd name="connsiteY7" fmla="*/ 6438306 h 6858000"/>
              <a:gd name="connsiteX8" fmla="*/ 883579 w 5962785"/>
              <a:gd name="connsiteY8" fmla="*/ 6351798 h 6858000"/>
              <a:gd name="connsiteX9" fmla="*/ 645167 w 5962785"/>
              <a:gd name="connsiteY9" fmla="*/ 6167969 h 6858000"/>
              <a:gd name="connsiteX10" fmla="*/ 732391 w 5962785"/>
              <a:gd name="connsiteY10" fmla="*/ 6124716 h 6858000"/>
              <a:gd name="connsiteX11" fmla="*/ 985339 w 5962785"/>
              <a:gd name="connsiteY11" fmla="*/ 6236455 h 6858000"/>
              <a:gd name="connsiteX12" fmla="*/ 1168509 w 5962785"/>
              <a:gd name="connsiteY12" fmla="*/ 6265291 h 6858000"/>
              <a:gd name="connsiteX13" fmla="*/ 909746 w 5962785"/>
              <a:gd name="connsiteY13" fmla="*/ 6070649 h 6858000"/>
              <a:gd name="connsiteX14" fmla="*/ 659704 w 5962785"/>
              <a:gd name="connsiteY14" fmla="*/ 5818335 h 6858000"/>
              <a:gd name="connsiteX15" fmla="*/ 851597 w 5962785"/>
              <a:gd name="connsiteY15" fmla="*/ 5865193 h 6858000"/>
              <a:gd name="connsiteX16" fmla="*/ 860319 w 5962785"/>
              <a:gd name="connsiteY16" fmla="*/ 5832753 h 6858000"/>
              <a:gd name="connsiteX17" fmla="*/ 691686 w 5962785"/>
              <a:gd name="connsiteY17" fmla="*/ 5533581 h 6858000"/>
              <a:gd name="connsiteX18" fmla="*/ 610278 w 5962785"/>
              <a:gd name="connsiteY18" fmla="*/ 5411029 h 6858000"/>
              <a:gd name="connsiteX19" fmla="*/ 238123 w 5962785"/>
              <a:gd name="connsiteY19" fmla="*/ 5046976 h 6858000"/>
              <a:gd name="connsiteX20" fmla="*/ 592833 w 5962785"/>
              <a:gd name="connsiteY20" fmla="*/ 5209177 h 6858000"/>
              <a:gd name="connsiteX21" fmla="*/ 226494 w 5962785"/>
              <a:gd name="connsiteY21" fmla="*/ 4855939 h 6858000"/>
              <a:gd name="connsiteX22" fmla="*/ 49139 w 5962785"/>
              <a:gd name="connsiteY22" fmla="*/ 4726177 h 6858000"/>
              <a:gd name="connsiteX23" fmla="*/ 5527 w 5962785"/>
              <a:gd name="connsiteY23" fmla="*/ 4650483 h 6858000"/>
              <a:gd name="connsiteX24" fmla="*/ 84029 w 5962785"/>
              <a:gd name="connsiteY24" fmla="*/ 4632460 h 6858000"/>
              <a:gd name="connsiteX25" fmla="*/ 325347 w 5962785"/>
              <a:gd name="connsiteY25" fmla="*/ 4661296 h 6858000"/>
              <a:gd name="connsiteX26" fmla="*/ 25879 w 5962785"/>
              <a:gd name="connsiteY26" fmla="*/ 4423401 h 6858000"/>
              <a:gd name="connsiteX27" fmla="*/ 249753 w 5962785"/>
              <a:gd name="connsiteY27" fmla="*/ 4459446 h 6858000"/>
              <a:gd name="connsiteX28" fmla="*/ 313718 w 5962785"/>
              <a:gd name="connsiteY28" fmla="*/ 4365729 h 6858000"/>
              <a:gd name="connsiteX29" fmla="*/ 418386 w 5962785"/>
              <a:gd name="connsiteY29" fmla="*/ 4214341 h 6858000"/>
              <a:gd name="connsiteX30" fmla="*/ 491072 w 5962785"/>
              <a:gd name="connsiteY30" fmla="*/ 4131438 h 6858000"/>
              <a:gd name="connsiteX31" fmla="*/ 520147 w 5962785"/>
              <a:gd name="connsiteY31" fmla="*/ 3864706 h 6858000"/>
              <a:gd name="connsiteX32" fmla="*/ 459090 w 5962785"/>
              <a:gd name="connsiteY32" fmla="*/ 3572743 h 6858000"/>
              <a:gd name="connsiteX33" fmla="*/ 290458 w 5962785"/>
              <a:gd name="connsiteY33" fmla="*/ 3424959 h 6858000"/>
              <a:gd name="connsiteX34" fmla="*/ 339884 w 5962785"/>
              <a:gd name="connsiteY34" fmla="*/ 3259153 h 6858000"/>
              <a:gd name="connsiteX35" fmla="*/ 697501 w 5962785"/>
              <a:gd name="connsiteY35" fmla="*/ 3360078 h 6858000"/>
              <a:gd name="connsiteX36" fmla="*/ 165437 w 5962785"/>
              <a:gd name="connsiteY36" fmla="*/ 2967190 h 6858000"/>
              <a:gd name="connsiteX37" fmla="*/ 255568 w 5962785"/>
              <a:gd name="connsiteY37" fmla="*/ 2949167 h 6858000"/>
              <a:gd name="connsiteX38" fmla="*/ 578296 w 5962785"/>
              <a:gd name="connsiteY38" fmla="*/ 2725691 h 6858000"/>
              <a:gd name="connsiteX39" fmla="*/ 595740 w 5962785"/>
              <a:gd name="connsiteY39" fmla="*/ 2714876 h 6858000"/>
              <a:gd name="connsiteX40" fmla="*/ 650982 w 5962785"/>
              <a:gd name="connsiteY40" fmla="*/ 2574301 h 6858000"/>
              <a:gd name="connsiteX41" fmla="*/ 825429 w 5962785"/>
              <a:gd name="connsiteY41" fmla="*/ 2552674 h 6858000"/>
              <a:gd name="connsiteX42" fmla="*/ 970802 w 5962785"/>
              <a:gd name="connsiteY42" fmla="*/ 2585115 h 6858000"/>
              <a:gd name="connsiteX43" fmla="*/ 1127805 w 5962785"/>
              <a:gd name="connsiteY43" fmla="*/ 2545465 h 6858000"/>
              <a:gd name="connsiteX44" fmla="*/ 1267362 w 5962785"/>
              <a:gd name="connsiteY44" fmla="*/ 2563488 h 6858000"/>
              <a:gd name="connsiteX45" fmla="*/ 1386568 w 5962785"/>
              <a:gd name="connsiteY45" fmla="*/ 2538257 h 6858000"/>
              <a:gd name="connsiteX46" fmla="*/ 1270270 w 5962785"/>
              <a:gd name="connsiteY46" fmla="*/ 2419309 h 6858000"/>
              <a:gd name="connsiteX47" fmla="*/ 1107453 w 5962785"/>
              <a:gd name="connsiteY47" fmla="*/ 2419309 h 6858000"/>
              <a:gd name="connsiteX48" fmla="*/ 991154 w 5962785"/>
              <a:gd name="connsiteY48" fmla="*/ 2343615 h 6858000"/>
              <a:gd name="connsiteX49" fmla="*/ 880671 w 5962785"/>
              <a:gd name="connsiteY49" fmla="*/ 2206645 h 6858000"/>
              <a:gd name="connsiteX50" fmla="*/ 491072 w 5962785"/>
              <a:gd name="connsiteY50" fmla="*/ 1986771 h 6858000"/>
              <a:gd name="connsiteX51" fmla="*/ 421293 w 5962785"/>
              <a:gd name="connsiteY51" fmla="*/ 1903868 h 6858000"/>
              <a:gd name="connsiteX52" fmla="*/ 1531941 w 5962785"/>
              <a:gd name="connsiteY52" fmla="*/ 2224667 h 6858000"/>
              <a:gd name="connsiteX53" fmla="*/ 1188861 w 5962785"/>
              <a:gd name="connsiteY53" fmla="*/ 2091301 h 6858000"/>
              <a:gd name="connsiteX54" fmla="*/ 1421458 w 5962785"/>
              <a:gd name="connsiteY54" fmla="*/ 2116532 h 6858000"/>
              <a:gd name="connsiteX55" fmla="*/ 1549386 w 5962785"/>
              <a:gd name="connsiteY55" fmla="*/ 2026420 h 6858000"/>
              <a:gd name="connsiteX56" fmla="*/ 1549386 w 5962785"/>
              <a:gd name="connsiteY56" fmla="*/ 1997584 h 6858000"/>
              <a:gd name="connsiteX57" fmla="*/ 1453440 w 5962785"/>
              <a:gd name="connsiteY57" fmla="*/ 1914682 h 6858000"/>
              <a:gd name="connsiteX58" fmla="*/ 1398198 w 5962785"/>
              <a:gd name="connsiteY58" fmla="*/ 1860614 h 6858000"/>
              <a:gd name="connsiteX59" fmla="*/ 1247011 w 5962785"/>
              <a:gd name="connsiteY59" fmla="*/ 1665972 h 6858000"/>
              <a:gd name="connsiteX60" fmla="*/ 1354586 w 5962785"/>
              <a:gd name="connsiteY60" fmla="*/ 1644345 h 6858000"/>
              <a:gd name="connsiteX61" fmla="*/ 1395290 w 5962785"/>
              <a:gd name="connsiteY61" fmla="*/ 1604696 h 6858000"/>
              <a:gd name="connsiteX62" fmla="*/ 1366216 w 5962785"/>
              <a:gd name="connsiteY62" fmla="*/ 1547025 h 6858000"/>
              <a:gd name="connsiteX63" fmla="*/ 1031858 w 5962785"/>
              <a:gd name="connsiteY63" fmla="*/ 1370405 h 6858000"/>
              <a:gd name="connsiteX64" fmla="*/ 1005692 w 5962785"/>
              <a:gd name="connsiteY64" fmla="*/ 1233435 h 6858000"/>
              <a:gd name="connsiteX65" fmla="*/ 1069655 w 5962785"/>
              <a:gd name="connsiteY65" fmla="*/ 1211808 h 6858000"/>
              <a:gd name="connsiteX66" fmla="*/ 1142342 w 5962785"/>
              <a:gd name="connsiteY66" fmla="*/ 1222621 h 6858000"/>
              <a:gd name="connsiteX67" fmla="*/ 1084193 w 5962785"/>
              <a:gd name="connsiteY67" fmla="*/ 1114487 h 6858000"/>
              <a:gd name="connsiteX68" fmla="*/ 848689 w 5962785"/>
              <a:gd name="connsiteY68" fmla="*/ 1006353 h 6858000"/>
              <a:gd name="connsiteX69" fmla="*/ 805077 w 5962785"/>
              <a:gd name="connsiteY69" fmla="*/ 948681 h 6858000"/>
              <a:gd name="connsiteX70" fmla="*/ 863226 w 5962785"/>
              <a:gd name="connsiteY70" fmla="*/ 919844 h 6858000"/>
              <a:gd name="connsiteX71" fmla="*/ 906838 w 5962785"/>
              <a:gd name="connsiteY71" fmla="*/ 909031 h 6858000"/>
              <a:gd name="connsiteX72" fmla="*/ 5527 w 5962785"/>
              <a:gd name="connsiteY72" fmla="*/ 458471 h 6858000"/>
              <a:gd name="connsiteX73" fmla="*/ 209049 w 5962785"/>
              <a:gd name="connsiteY73" fmla="*/ 454867 h 6858000"/>
              <a:gd name="connsiteX74" fmla="*/ 409664 w 5962785"/>
              <a:gd name="connsiteY74" fmla="*/ 526956 h 6858000"/>
              <a:gd name="connsiteX75" fmla="*/ 621908 w 5962785"/>
              <a:gd name="connsiteY75" fmla="*/ 516143 h 6858000"/>
              <a:gd name="connsiteX76" fmla="*/ 822522 w 5962785"/>
              <a:gd name="connsiteY76" fmla="*/ 552188 h 6858000"/>
              <a:gd name="connsiteX77" fmla="*/ 996969 w 5962785"/>
              <a:gd name="connsiteY77" fmla="*/ 552188 h 6858000"/>
              <a:gd name="connsiteX78" fmla="*/ 834151 w 5962785"/>
              <a:gd name="connsiteY78" fmla="*/ 498120 h 6858000"/>
              <a:gd name="connsiteX79" fmla="*/ 773095 w 5962785"/>
              <a:gd name="connsiteY79" fmla="*/ 408008 h 6858000"/>
              <a:gd name="connsiteX80" fmla="*/ 793447 w 5962785"/>
              <a:gd name="connsiteY80" fmla="*/ 325106 h 6858000"/>
              <a:gd name="connsiteX81" fmla="*/ 860319 w 5962785"/>
              <a:gd name="connsiteY81" fmla="*/ 350336 h 6858000"/>
              <a:gd name="connsiteX82" fmla="*/ 938820 w 5962785"/>
              <a:gd name="connsiteY82" fmla="*/ 444054 h 6858000"/>
              <a:gd name="connsiteX83" fmla="*/ 956265 w 5962785"/>
              <a:gd name="connsiteY83" fmla="*/ 386381 h 6858000"/>
              <a:gd name="connsiteX84" fmla="*/ 1002784 w 5962785"/>
              <a:gd name="connsiteY84" fmla="*/ 343127 h 6858000"/>
              <a:gd name="connsiteX85" fmla="*/ 1270270 w 5962785"/>
              <a:gd name="connsiteY85" fmla="*/ 364755 h 6858000"/>
              <a:gd name="connsiteX86" fmla="*/ 1092915 w 5962785"/>
              <a:gd name="connsiteY86" fmla="*/ 180926 h 6858000"/>
              <a:gd name="connsiteX87" fmla="*/ 979525 w 5962785"/>
              <a:gd name="connsiteY87" fmla="*/ 152090 h 6858000"/>
              <a:gd name="connsiteX88" fmla="*/ 953358 w 5962785"/>
              <a:gd name="connsiteY88" fmla="*/ 76396 h 6858000"/>
              <a:gd name="connsiteX89" fmla="*/ 1005692 w 5962785"/>
              <a:gd name="connsiteY89" fmla="*/ 58373 h 6858000"/>
              <a:gd name="connsiteX90" fmla="*/ 1267362 w 5962785"/>
              <a:gd name="connsiteY90" fmla="*/ 123254 h 6858000"/>
              <a:gd name="connsiteX91" fmla="*/ 1310975 w 5962785"/>
              <a:gd name="connsiteY91" fmla="*/ 98023 h 6858000"/>
              <a:gd name="connsiteX92" fmla="*/ 1159787 w 5962785"/>
              <a:gd name="connsiteY92" fmla="*/ 4350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0" name="Picture 20" descr="Icon&#10;&#10;Description automatically generated">
            <a:extLst>
              <a:ext uri="{FF2B5EF4-FFF2-40B4-BE49-F238E27FC236}">
                <a16:creationId xmlns:a16="http://schemas.microsoft.com/office/drawing/2014/main" id="{DF95CB48-0C75-C5CF-A42B-3904759106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993" y="113961"/>
            <a:ext cx="783432" cy="754857"/>
          </a:xfrm>
          <a:prstGeom prst="rect">
            <a:avLst/>
          </a:prstGeom>
        </p:spPr>
      </p:pic>
      <p:sp>
        <p:nvSpPr>
          <p:cNvPr id="66" name="Title 3">
            <a:extLst>
              <a:ext uri="{FF2B5EF4-FFF2-40B4-BE49-F238E27FC236}">
                <a16:creationId xmlns:a16="http://schemas.microsoft.com/office/drawing/2014/main" id="{8F9FADF4-3334-5667-B982-F7ABFE4C35D4}"/>
              </a:ext>
            </a:extLst>
          </p:cNvPr>
          <p:cNvSpPr txBox="1">
            <a:spLocks/>
          </p:cNvSpPr>
          <p:nvPr/>
        </p:nvSpPr>
        <p:spPr>
          <a:xfrm>
            <a:off x="2816205" y="322926"/>
            <a:ext cx="6555740" cy="47209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FF0000"/>
                </a:solidFill>
              </a:rPr>
              <a:t>GROUP 3 – TEAM MEMBERS</a:t>
            </a:r>
            <a:endParaRPr lang="en-US"/>
          </a:p>
        </p:txBody>
      </p:sp>
      <p:sp>
        <p:nvSpPr>
          <p:cNvPr id="70" name="Oval 69" descr="Beige circle">
            <a:extLst>
              <a:ext uri="{FF2B5EF4-FFF2-40B4-BE49-F238E27FC236}">
                <a16:creationId xmlns:a16="http://schemas.microsoft.com/office/drawing/2014/main" id="{1CF4B35D-7EC0-8A2F-4B19-6A0ECD06D5F4}"/>
              </a:ext>
            </a:extLst>
          </p:cNvPr>
          <p:cNvSpPr/>
          <p:nvPr/>
        </p:nvSpPr>
        <p:spPr>
          <a:xfrm>
            <a:off x="9042019" y="732838"/>
            <a:ext cx="2506652" cy="2403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pic>
        <p:nvPicPr>
          <p:cNvPr id="72" name="Picture Placeholder 60" descr="A picture containing person, person, outdoor&#10;&#10;Description automatically generated">
            <a:extLst>
              <a:ext uri="{FF2B5EF4-FFF2-40B4-BE49-F238E27FC236}">
                <a16:creationId xmlns:a16="http://schemas.microsoft.com/office/drawing/2014/main" id="{6938DB58-7138-E06B-D5EA-A3B63495029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6016" b="16016"/>
          <a:stretch>
            <a:fillRect/>
          </a:stretch>
        </p:blipFill>
        <p:spPr>
          <a:xfrm>
            <a:off x="9045292" y="4124661"/>
            <a:ext cx="2225079" cy="2225079"/>
          </a:xfrm>
          <a:prstGeom prst="ellipse">
            <a:avLst/>
          </a:prstGeom>
          <a:noFill/>
          <a:ln w="387350">
            <a:noFill/>
          </a:ln>
        </p:spPr>
      </p:pic>
      <p:pic>
        <p:nvPicPr>
          <p:cNvPr id="76" name="Picture 10" descr="A picture containing person, clothing, person, smiling&#10;&#10;Description automatically generated">
            <a:extLst>
              <a:ext uri="{FF2B5EF4-FFF2-40B4-BE49-F238E27FC236}">
                <a16:creationId xmlns:a16="http://schemas.microsoft.com/office/drawing/2014/main" id="{EDF0C481-D436-1A58-FFA5-D8CF5AB250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5332" y="4129967"/>
            <a:ext cx="2115671" cy="2115671"/>
          </a:xfrm>
          <a:prstGeom prst="ellipse">
            <a:avLst/>
          </a:prstGeom>
          <a:noFill/>
          <a:ln w="387350">
            <a:noFill/>
          </a:ln>
        </p:spPr>
      </p:pic>
      <p:pic>
        <p:nvPicPr>
          <p:cNvPr id="78" name="Picture 10" descr="A person wearing a suit and glasses&#10;&#10;Description automatically generated">
            <a:extLst>
              <a:ext uri="{FF2B5EF4-FFF2-40B4-BE49-F238E27FC236}">
                <a16:creationId xmlns:a16="http://schemas.microsoft.com/office/drawing/2014/main" id="{3471BDAD-C560-8CED-B989-556A13629B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5657" y="4248610"/>
            <a:ext cx="2096250" cy="2103419"/>
          </a:xfrm>
          <a:prstGeom prst="rect">
            <a:avLst/>
          </a:prstGeom>
        </p:spPr>
      </p:pic>
      <p:pic>
        <p:nvPicPr>
          <p:cNvPr id="80" name="Picture 5" descr="A person with a beard and glasses smiling&#10;&#10;Description automatically generated">
            <a:extLst>
              <a:ext uri="{FF2B5EF4-FFF2-40B4-BE49-F238E27FC236}">
                <a16:creationId xmlns:a16="http://schemas.microsoft.com/office/drawing/2014/main" id="{654CAAFF-3B2A-D129-1180-DB07A721E1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1208" y="1128896"/>
            <a:ext cx="2216386" cy="2174757"/>
          </a:xfrm>
          <a:prstGeom prst="ellipse">
            <a:avLst/>
          </a:prstGeom>
          <a:noFill/>
          <a:ln w="387350">
            <a:noFill/>
          </a:ln>
        </p:spPr>
      </p:pic>
      <p:pic>
        <p:nvPicPr>
          <p:cNvPr id="82" name="Picture 7" descr="A person with long hair smiling&#10;&#10;Description automatically generated">
            <a:extLst>
              <a:ext uri="{FF2B5EF4-FFF2-40B4-BE49-F238E27FC236}">
                <a16:creationId xmlns:a16="http://schemas.microsoft.com/office/drawing/2014/main" id="{EF238017-1868-BB1F-DBB5-192886AEA1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43328" y="1126654"/>
            <a:ext cx="2178756" cy="2169349"/>
          </a:xfrm>
          <a:prstGeom prst="rect">
            <a:avLst/>
          </a:prstGeom>
        </p:spPr>
      </p:pic>
      <p:pic>
        <p:nvPicPr>
          <p:cNvPr id="84" name="Picture 8" descr="A person standing in front of a pool of water&#10;&#10;Description automatically generated">
            <a:extLst>
              <a:ext uri="{FF2B5EF4-FFF2-40B4-BE49-F238E27FC236}">
                <a16:creationId xmlns:a16="http://schemas.microsoft.com/office/drawing/2014/main" id="{4B078C59-26F1-879B-81E1-E5068606C6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57089" y="1122382"/>
            <a:ext cx="2154588" cy="2166631"/>
          </a:xfrm>
          <a:prstGeom prst="rect">
            <a:avLst/>
          </a:prstGeom>
        </p:spPr>
      </p:pic>
      <p:sp>
        <p:nvSpPr>
          <p:cNvPr id="92" name="Text Placeholder 42">
            <a:extLst>
              <a:ext uri="{FF2B5EF4-FFF2-40B4-BE49-F238E27FC236}">
                <a16:creationId xmlns:a16="http://schemas.microsoft.com/office/drawing/2014/main" id="{169ED003-D107-3C8F-A92E-56D076B1A04D}"/>
              </a:ext>
            </a:extLst>
          </p:cNvPr>
          <p:cNvSpPr txBox="1">
            <a:spLocks/>
          </p:cNvSpPr>
          <p:nvPr/>
        </p:nvSpPr>
        <p:spPr>
          <a:xfrm>
            <a:off x="5386847" y="3392822"/>
            <a:ext cx="2659662" cy="48384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>
                <a:solidFill>
                  <a:srgbClr val="FF0000"/>
                </a:solidFill>
              </a:rPr>
              <a:t>Vikas Dod</a:t>
            </a:r>
            <a:endParaRPr lang="en-US" sz="2400" b="1" i="1">
              <a:solidFill>
                <a:srgbClr val="FF0000"/>
              </a:solidFill>
            </a:endParaRPr>
          </a:p>
        </p:txBody>
      </p:sp>
      <p:sp>
        <p:nvSpPr>
          <p:cNvPr id="94" name="Text Placeholder 41">
            <a:extLst>
              <a:ext uri="{FF2B5EF4-FFF2-40B4-BE49-F238E27FC236}">
                <a16:creationId xmlns:a16="http://schemas.microsoft.com/office/drawing/2014/main" id="{B328B129-B4F3-CD0C-6DC0-001B33CC549C}"/>
              </a:ext>
            </a:extLst>
          </p:cNvPr>
          <p:cNvSpPr txBox="1">
            <a:spLocks/>
          </p:cNvSpPr>
          <p:nvPr/>
        </p:nvSpPr>
        <p:spPr>
          <a:xfrm>
            <a:off x="8457834" y="3393337"/>
            <a:ext cx="3268426" cy="53943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>
                <a:solidFill>
                  <a:srgbClr val="FF0000"/>
                </a:solidFill>
                <a:latin typeface="Airbnb Cereal Light"/>
              </a:rPr>
              <a:t>Sushrutha S</a:t>
            </a:r>
          </a:p>
        </p:txBody>
      </p:sp>
      <p:sp>
        <p:nvSpPr>
          <p:cNvPr id="96" name="Text Placeholder 41">
            <a:extLst>
              <a:ext uri="{FF2B5EF4-FFF2-40B4-BE49-F238E27FC236}">
                <a16:creationId xmlns:a16="http://schemas.microsoft.com/office/drawing/2014/main" id="{28AA38DB-220B-5D41-9565-01A7527F8339}"/>
              </a:ext>
            </a:extLst>
          </p:cNvPr>
          <p:cNvSpPr txBox="1">
            <a:spLocks/>
          </p:cNvSpPr>
          <p:nvPr/>
        </p:nvSpPr>
        <p:spPr>
          <a:xfrm>
            <a:off x="529930" y="3355088"/>
            <a:ext cx="3938460" cy="55257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>
                <a:solidFill>
                  <a:srgbClr val="FF0000"/>
                </a:solidFill>
                <a:latin typeface="Airbnb Cereal Light"/>
              </a:rPr>
              <a:t>Pragathi </a:t>
            </a:r>
            <a:r>
              <a:rPr lang="en-US" sz="2400" b="1" err="1">
                <a:solidFill>
                  <a:srgbClr val="FF0000"/>
                </a:solidFill>
                <a:latin typeface="Airbnb Cereal Light"/>
              </a:rPr>
              <a:t>Beedu</a:t>
            </a:r>
            <a:endParaRPr lang="en-US" sz="2400" b="1" i="1">
              <a:solidFill>
                <a:srgbClr val="FF0000"/>
              </a:solidFill>
              <a:latin typeface="Airbnb Cereal Light"/>
            </a:endParaRPr>
          </a:p>
        </p:txBody>
      </p:sp>
      <p:sp>
        <p:nvSpPr>
          <p:cNvPr id="98" name="Text Placeholder 43">
            <a:extLst>
              <a:ext uri="{FF2B5EF4-FFF2-40B4-BE49-F238E27FC236}">
                <a16:creationId xmlns:a16="http://schemas.microsoft.com/office/drawing/2014/main" id="{9BDDC531-92BB-1EFD-5E95-D25DC3C18F26}"/>
              </a:ext>
            </a:extLst>
          </p:cNvPr>
          <p:cNvSpPr txBox="1">
            <a:spLocks/>
          </p:cNvSpPr>
          <p:nvPr/>
        </p:nvSpPr>
        <p:spPr>
          <a:xfrm>
            <a:off x="1541811" y="6364696"/>
            <a:ext cx="3132504" cy="368399"/>
          </a:xfrm>
          <a:prstGeom prst="rect">
            <a:avLst/>
          </a:prstGeom>
        </p:spPr>
        <p:txBody>
          <a:bodyPr lIns="91440" tIns="45720" rIns="91440" bIns="45720" anchor="t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 err="1">
                <a:solidFill>
                  <a:srgbClr val="FF0000"/>
                </a:solidFill>
              </a:rPr>
              <a:t>Riddha</a:t>
            </a:r>
            <a:r>
              <a:rPr lang="en-US" b="1">
                <a:solidFill>
                  <a:srgbClr val="FF0000"/>
                </a:solidFill>
              </a:rPr>
              <a:t> Mathur</a:t>
            </a:r>
            <a:endParaRPr lang="en-US" sz="1600" b="1" i="1">
              <a:solidFill>
                <a:srgbClr val="FF0000"/>
              </a:solidFill>
            </a:endParaRPr>
          </a:p>
        </p:txBody>
      </p:sp>
      <p:sp>
        <p:nvSpPr>
          <p:cNvPr id="100" name="Text Placeholder 41">
            <a:extLst>
              <a:ext uri="{FF2B5EF4-FFF2-40B4-BE49-F238E27FC236}">
                <a16:creationId xmlns:a16="http://schemas.microsoft.com/office/drawing/2014/main" id="{D3E0C88B-D15B-A3C4-D218-3757147531FD}"/>
              </a:ext>
            </a:extLst>
          </p:cNvPr>
          <p:cNvSpPr txBox="1">
            <a:spLocks/>
          </p:cNvSpPr>
          <p:nvPr/>
        </p:nvSpPr>
        <p:spPr>
          <a:xfrm>
            <a:off x="4809375" y="6348529"/>
            <a:ext cx="2716633" cy="3817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>
                <a:solidFill>
                  <a:srgbClr val="FF0000"/>
                </a:solidFill>
                <a:latin typeface="Airbnb Cereal Light"/>
              </a:rPr>
              <a:t>Jay Jain</a:t>
            </a:r>
            <a:endParaRPr lang="en-US" sz="2400" b="1" i="1">
              <a:solidFill>
                <a:srgbClr val="FF0000"/>
              </a:solidFill>
              <a:latin typeface="Airbnb Cereal Light"/>
            </a:endParaRPr>
          </a:p>
        </p:txBody>
      </p:sp>
      <p:sp>
        <p:nvSpPr>
          <p:cNvPr id="104" name="Text Placeholder 41">
            <a:extLst>
              <a:ext uri="{FF2B5EF4-FFF2-40B4-BE49-F238E27FC236}">
                <a16:creationId xmlns:a16="http://schemas.microsoft.com/office/drawing/2014/main" id="{55BC9771-3B5C-E8BB-724A-C118F12AF733}"/>
              </a:ext>
            </a:extLst>
          </p:cNvPr>
          <p:cNvSpPr txBox="1">
            <a:spLocks/>
          </p:cNvSpPr>
          <p:nvPr/>
        </p:nvSpPr>
        <p:spPr>
          <a:xfrm>
            <a:off x="9044377" y="6347249"/>
            <a:ext cx="3938460" cy="552573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>
                <a:solidFill>
                  <a:srgbClr val="FF0000"/>
                </a:solidFill>
              </a:rPr>
              <a:t>Nitisha Meghwal</a:t>
            </a:r>
            <a:endParaRPr lang="en-US" sz="2400" b="1" i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2345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4" name="Rectangle 50">
            <a:extLst>
              <a:ext uri="{FF2B5EF4-FFF2-40B4-BE49-F238E27FC236}">
                <a16:creationId xmlns:a16="http://schemas.microsoft.com/office/drawing/2014/main" id="{0E3596DD-156A-473E-9BB3-C6A29F757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Freeform: Shape 52">
            <a:extLst>
              <a:ext uri="{FF2B5EF4-FFF2-40B4-BE49-F238E27FC236}">
                <a16:creationId xmlns:a16="http://schemas.microsoft.com/office/drawing/2014/main" id="{2C46C4D6-C474-4E92-B52E-944C1118F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962785" cy="6858000"/>
          </a:xfrm>
          <a:custGeom>
            <a:avLst/>
            <a:gdLst>
              <a:gd name="connsiteX0" fmla="*/ 1044839 w 5962785"/>
              <a:gd name="connsiteY0" fmla="*/ 0 h 6858000"/>
              <a:gd name="connsiteX1" fmla="*/ 5962785 w 5962785"/>
              <a:gd name="connsiteY1" fmla="*/ 0 h 6858000"/>
              <a:gd name="connsiteX2" fmla="*/ 5962785 w 5962785"/>
              <a:gd name="connsiteY2" fmla="*/ 6858000 h 6858000"/>
              <a:gd name="connsiteX3" fmla="*/ 1469886 w 5962785"/>
              <a:gd name="connsiteY3" fmla="*/ 6858000 h 6858000"/>
              <a:gd name="connsiteX4" fmla="*/ 1416006 w 5962785"/>
              <a:gd name="connsiteY4" fmla="*/ 6823984 h 6858000"/>
              <a:gd name="connsiteX5" fmla="*/ 1232473 w 5962785"/>
              <a:gd name="connsiteY5" fmla="*/ 6733873 h 6858000"/>
              <a:gd name="connsiteX6" fmla="*/ 1075471 w 5962785"/>
              <a:gd name="connsiteY6" fmla="*/ 6503186 h 6858000"/>
              <a:gd name="connsiteX7" fmla="*/ 1020229 w 5962785"/>
              <a:gd name="connsiteY7" fmla="*/ 6438306 h 6858000"/>
              <a:gd name="connsiteX8" fmla="*/ 883579 w 5962785"/>
              <a:gd name="connsiteY8" fmla="*/ 6351798 h 6858000"/>
              <a:gd name="connsiteX9" fmla="*/ 645167 w 5962785"/>
              <a:gd name="connsiteY9" fmla="*/ 6167969 h 6858000"/>
              <a:gd name="connsiteX10" fmla="*/ 732391 w 5962785"/>
              <a:gd name="connsiteY10" fmla="*/ 6124716 h 6858000"/>
              <a:gd name="connsiteX11" fmla="*/ 985339 w 5962785"/>
              <a:gd name="connsiteY11" fmla="*/ 6236455 h 6858000"/>
              <a:gd name="connsiteX12" fmla="*/ 1168509 w 5962785"/>
              <a:gd name="connsiteY12" fmla="*/ 6265291 h 6858000"/>
              <a:gd name="connsiteX13" fmla="*/ 909746 w 5962785"/>
              <a:gd name="connsiteY13" fmla="*/ 6070649 h 6858000"/>
              <a:gd name="connsiteX14" fmla="*/ 659704 w 5962785"/>
              <a:gd name="connsiteY14" fmla="*/ 5818335 h 6858000"/>
              <a:gd name="connsiteX15" fmla="*/ 851597 w 5962785"/>
              <a:gd name="connsiteY15" fmla="*/ 5865193 h 6858000"/>
              <a:gd name="connsiteX16" fmla="*/ 860319 w 5962785"/>
              <a:gd name="connsiteY16" fmla="*/ 5832753 h 6858000"/>
              <a:gd name="connsiteX17" fmla="*/ 691686 w 5962785"/>
              <a:gd name="connsiteY17" fmla="*/ 5533581 h 6858000"/>
              <a:gd name="connsiteX18" fmla="*/ 610278 w 5962785"/>
              <a:gd name="connsiteY18" fmla="*/ 5411029 h 6858000"/>
              <a:gd name="connsiteX19" fmla="*/ 238123 w 5962785"/>
              <a:gd name="connsiteY19" fmla="*/ 5046976 h 6858000"/>
              <a:gd name="connsiteX20" fmla="*/ 592833 w 5962785"/>
              <a:gd name="connsiteY20" fmla="*/ 5209177 h 6858000"/>
              <a:gd name="connsiteX21" fmla="*/ 226494 w 5962785"/>
              <a:gd name="connsiteY21" fmla="*/ 4855939 h 6858000"/>
              <a:gd name="connsiteX22" fmla="*/ 49139 w 5962785"/>
              <a:gd name="connsiteY22" fmla="*/ 4726177 h 6858000"/>
              <a:gd name="connsiteX23" fmla="*/ 5527 w 5962785"/>
              <a:gd name="connsiteY23" fmla="*/ 4650483 h 6858000"/>
              <a:gd name="connsiteX24" fmla="*/ 84029 w 5962785"/>
              <a:gd name="connsiteY24" fmla="*/ 4632460 h 6858000"/>
              <a:gd name="connsiteX25" fmla="*/ 325347 w 5962785"/>
              <a:gd name="connsiteY25" fmla="*/ 4661296 h 6858000"/>
              <a:gd name="connsiteX26" fmla="*/ 25879 w 5962785"/>
              <a:gd name="connsiteY26" fmla="*/ 4423401 h 6858000"/>
              <a:gd name="connsiteX27" fmla="*/ 249753 w 5962785"/>
              <a:gd name="connsiteY27" fmla="*/ 4459446 h 6858000"/>
              <a:gd name="connsiteX28" fmla="*/ 313718 w 5962785"/>
              <a:gd name="connsiteY28" fmla="*/ 4365729 h 6858000"/>
              <a:gd name="connsiteX29" fmla="*/ 418386 w 5962785"/>
              <a:gd name="connsiteY29" fmla="*/ 4214341 h 6858000"/>
              <a:gd name="connsiteX30" fmla="*/ 491072 w 5962785"/>
              <a:gd name="connsiteY30" fmla="*/ 4131438 h 6858000"/>
              <a:gd name="connsiteX31" fmla="*/ 520147 w 5962785"/>
              <a:gd name="connsiteY31" fmla="*/ 3864706 h 6858000"/>
              <a:gd name="connsiteX32" fmla="*/ 459090 w 5962785"/>
              <a:gd name="connsiteY32" fmla="*/ 3572743 h 6858000"/>
              <a:gd name="connsiteX33" fmla="*/ 290458 w 5962785"/>
              <a:gd name="connsiteY33" fmla="*/ 3424959 h 6858000"/>
              <a:gd name="connsiteX34" fmla="*/ 339884 w 5962785"/>
              <a:gd name="connsiteY34" fmla="*/ 3259153 h 6858000"/>
              <a:gd name="connsiteX35" fmla="*/ 697501 w 5962785"/>
              <a:gd name="connsiteY35" fmla="*/ 3360078 h 6858000"/>
              <a:gd name="connsiteX36" fmla="*/ 165437 w 5962785"/>
              <a:gd name="connsiteY36" fmla="*/ 2967190 h 6858000"/>
              <a:gd name="connsiteX37" fmla="*/ 255568 w 5962785"/>
              <a:gd name="connsiteY37" fmla="*/ 2949167 h 6858000"/>
              <a:gd name="connsiteX38" fmla="*/ 578296 w 5962785"/>
              <a:gd name="connsiteY38" fmla="*/ 2725691 h 6858000"/>
              <a:gd name="connsiteX39" fmla="*/ 595740 w 5962785"/>
              <a:gd name="connsiteY39" fmla="*/ 2714876 h 6858000"/>
              <a:gd name="connsiteX40" fmla="*/ 650982 w 5962785"/>
              <a:gd name="connsiteY40" fmla="*/ 2574301 h 6858000"/>
              <a:gd name="connsiteX41" fmla="*/ 825429 w 5962785"/>
              <a:gd name="connsiteY41" fmla="*/ 2552674 h 6858000"/>
              <a:gd name="connsiteX42" fmla="*/ 970802 w 5962785"/>
              <a:gd name="connsiteY42" fmla="*/ 2585115 h 6858000"/>
              <a:gd name="connsiteX43" fmla="*/ 1127805 w 5962785"/>
              <a:gd name="connsiteY43" fmla="*/ 2545465 h 6858000"/>
              <a:gd name="connsiteX44" fmla="*/ 1267362 w 5962785"/>
              <a:gd name="connsiteY44" fmla="*/ 2563488 h 6858000"/>
              <a:gd name="connsiteX45" fmla="*/ 1386568 w 5962785"/>
              <a:gd name="connsiteY45" fmla="*/ 2538257 h 6858000"/>
              <a:gd name="connsiteX46" fmla="*/ 1270270 w 5962785"/>
              <a:gd name="connsiteY46" fmla="*/ 2419309 h 6858000"/>
              <a:gd name="connsiteX47" fmla="*/ 1107453 w 5962785"/>
              <a:gd name="connsiteY47" fmla="*/ 2419309 h 6858000"/>
              <a:gd name="connsiteX48" fmla="*/ 991154 w 5962785"/>
              <a:gd name="connsiteY48" fmla="*/ 2343615 h 6858000"/>
              <a:gd name="connsiteX49" fmla="*/ 880671 w 5962785"/>
              <a:gd name="connsiteY49" fmla="*/ 2206645 h 6858000"/>
              <a:gd name="connsiteX50" fmla="*/ 491072 w 5962785"/>
              <a:gd name="connsiteY50" fmla="*/ 1986771 h 6858000"/>
              <a:gd name="connsiteX51" fmla="*/ 421293 w 5962785"/>
              <a:gd name="connsiteY51" fmla="*/ 1903868 h 6858000"/>
              <a:gd name="connsiteX52" fmla="*/ 1531941 w 5962785"/>
              <a:gd name="connsiteY52" fmla="*/ 2224667 h 6858000"/>
              <a:gd name="connsiteX53" fmla="*/ 1188861 w 5962785"/>
              <a:gd name="connsiteY53" fmla="*/ 2091301 h 6858000"/>
              <a:gd name="connsiteX54" fmla="*/ 1421458 w 5962785"/>
              <a:gd name="connsiteY54" fmla="*/ 2116532 h 6858000"/>
              <a:gd name="connsiteX55" fmla="*/ 1549386 w 5962785"/>
              <a:gd name="connsiteY55" fmla="*/ 2026420 h 6858000"/>
              <a:gd name="connsiteX56" fmla="*/ 1549386 w 5962785"/>
              <a:gd name="connsiteY56" fmla="*/ 1997584 h 6858000"/>
              <a:gd name="connsiteX57" fmla="*/ 1453440 w 5962785"/>
              <a:gd name="connsiteY57" fmla="*/ 1914682 h 6858000"/>
              <a:gd name="connsiteX58" fmla="*/ 1398198 w 5962785"/>
              <a:gd name="connsiteY58" fmla="*/ 1860614 h 6858000"/>
              <a:gd name="connsiteX59" fmla="*/ 1247011 w 5962785"/>
              <a:gd name="connsiteY59" fmla="*/ 1665972 h 6858000"/>
              <a:gd name="connsiteX60" fmla="*/ 1354586 w 5962785"/>
              <a:gd name="connsiteY60" fmla="*/ 1644345 h 6858000"/>
              <a:gd name="connsiteX61" fmla="*/ 1395290 w 5962785"/>
              <a:gd name="connsiteY61" fmla="*/ 1604696 h 6858000"/>
              <a:gd name="connsiteX62" fmla="*/ 1366216 w 5962785"/>
              <a:gd name="connsiteY62" fmla="*/ 1547025 h 6858000"/>
              <a:gd name="connsiteX63" fmla="*/ 1031858 w 5962785"/>
              <a:gd name="connsiteY63" fmla="*/ 1370405 h 6858000"/>
              <a:gd name="connsiteX64" fmla="*/ 1005692 w 5962785"/>
              <a:gd name="connsiteY64" fmla="*/ 1233435 h 6858000"/>
              <a:gd name="connsiteX65" fmla="*/ 1069655 w 5962785"/>
              <a:gd name="connsiteY65" fmla="*/ 1211808 h 6858000"/>
              <a:gd name="connsiteX66" fmla="*/ 1142342 w 5962785"/>
              <a:gd name="connsiteY66" fmla="*/ 1222621 h 6858000"/>
              <a:gd name="connsiteX67" fmla="*/ 1084193 w 5962785"/>
              <a:gd name="connsiteY67" fmla="*/ 1114487 h 6858000"/>
              <a:gd name="connsiteX68" fmla="*/ 848689 w 5962785"/>
              <a:gd name="connsiteY68" fmla="*/ 1006353 h 6858000"/>
              <a:gd name="connsiteX69" fmla="*/ 805077 w 5962785"/>
              <a:gd name="connsiteY69" fmla="*/ 948681 h 6858000"/>
              <a:gd name="connsiteX70" fmla="*/ 863226 w 5962785"/>
              <a:gd name="connsiteY70" fmla="*/ 919844 h 6858000"/>
              <a:gd name="connsiteX71" fmla="*/ 906838 w 5962785"/>
              <a:gd name="connsiteY71" fmla="*/ 909031 h 6858000"/>
              <a:gd name="connsiteX72" fmla="*/ 5527 w 5962785"/>
              <a:gd name="connsiteY72" fmla="*/ 458471 h 6858000"/>
              <a:gd name="connsiteX73" fmla="*/ 209049 w 5962785"/>
              <a:gd name="connsiteY73" fmla="*/ 454867 h 6858000"/>
              <a:gd name="connsiteX74" fmla="*/ 409664 w 5962785"/>
              <a:gd name="connsiteY74" fmla="*/ 526956 h 6858000"/>
              <a:gd name="connsiteX75" fmla="*/ 621908 w 5962785"/>
              <a:gd name="connsiteY75" fmla="*/ 516143 h 6858000"/>
              <a:gd name="connsiteX76" fmla="*/ 822522 w 5962785"/>
              <a:gd name="connsiteY76" fmla="*/ 552188 h 6858000"/>
              <a:gd name="connsiteX77" fmla="*/ 996969 w 5962785"/>
              <a:gd name="connsiteY77" fmla="*/ 552188 h 6858000"/>
              <a:gd name="connsiteX78" fmla="*/ 834151 w 5962785"/>
              <a:gd name="connsiteY78" fmla="*/ 498120 h 6858000"/>
              <a:gd name="connsiteX79" fmla="*/ 773095 w 5962785"/>
              <a:gd name="connsiteY79" fmla="*/ 408008 h 6858000"/>
              <a:gd name="connsiteX80" fmla="*/ 793447 w 5962785"/>
              <a:gd name="connsiteY80" fmla="*/ 325106 h 6858000"/>
              <a:gd name="connsiteX81" fmla="*/ 860319 w 5962785"/>
              <a:gd name="connsiteY81" fmla="*/ 350336 h 6858000"/>
              <a:gd name="connsiteX82" fmla="*/ 938820 w 5962785"/>
              <a:gd name="connsiteY82" fmla="*/ 444054 h 6858000"/>
              <a:gd name="connsiteX83" fmla="*/ 956265 w 5962785"/>
              <a:gd name="connsiteY83" fmla="*/ 386381 h 6858000"/>
              <a:gd name="connsiteX84" fmla="*/ 1002784 w 5962785"/>
              <a:gd name="connsiteY84" fmla="*/ 343127 h 6858000"/>
              <a:gd name="connsiteX85" fmla="*/ 1270270 w 5962785"/>
              <a:gd name="connsiteY85" fmla="*/ 364755 h 6858000"/>
              <a:gd name="connsiteX86" fmla="*/ 1092915 w 5962785"/>
              <a:gd name="connsiteY86" fmla="*/ 180926 h 6858000"/>
              <a:gd name="connsiteX87" fmla="*/ 979525 w 5962785"/>
              <a:gd name="connsiteY87" fmla="*/ 152090 h 6858000"/>
              <a:gd name="connsiteX88" fmla="*/ 953358 w 5962785"/>
              <a:gd name="connsiteY88" fmla="*/ 76396 h 6858000"/>
              <a:gd name="connsiteX89" fmla="*/ 1005692 w 5962785"/>
              <a:gd name="connsiteY89" fmla="*/ 58373 h 6858000"/>
              <a:gd name="connsiteX90" fmla="*/ 1267362 w 5962785"/>
              <a:gd name="connsiteY90" fmla="*/ 123254 h 6858000"/>
              <a:gd name="connsiteX91" fmla="*/ 1310975 w 5962785"/>
              <a:gd name="connsiteY91" fmla="*/ 98023 h 6858000"/>
              <a:gd name="connsiteX92" fmla="*/ 1159787 w 5962785"/>
              <a:gd name="connsiteY92" fmla="*/ 4350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itle 35">
            <a:extLst>
              <a:ext uri="{FF2B5EF4-FFF2-40B4-BE49-F238E27FC236}">
                <a16:creationId xmlns:a16="http://schemas.microsoft.com/office/drawing/2014/main" id="{C3AFF1C9-A4FC-F431-2779-A07CEADFB933}"/>
              </a:ext>
            </a:extLst>
          </p:cNvPr>
          <p:cNvSpPr txBox="1">
            <a:spLocks/>
          </p:cNvSpPr>
          <p:nvPr/>
        </p:nvSpPr>
        <p:spPr>
          <a:xfrm>
            <a:off x="1350170" y="118192"/>
            <a:ext cx="4616908" cy="6351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600"/>
              </a:spcAft>
            </a:pPr>
            <a:r>
              <a:rPr lang="en-US" sz="3200"/>
              <a:t>OVERVIEW</a:t>
            </a:r>
            <a:endParaRPr lang="en-US" sz="3200"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70F4A86-DF9C-1A3E-DFD5-C405F7434C4E}"/>
              </a:ext>
            </a:extLst>
          </p:cNvPr>
          <p:cNvSpPr txBox="1"/>
          <p:nvPr/>
        </p:nvSpPr>
        <p:spPr>
          <a:xfrm>
            <a:off x="1252387" y="976755"/>
            <a:ext cx="3986008" cy="716083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Product Roadmap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Innovation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Disruptive Innovation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Stickiness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Value Creation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Market Strategy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Market Types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Financials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Competitors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Comparing Revenue</a:t>
            </a:r>
          </a:p>
          <a:p>
            <a:pPr marL="457200" indent="-342900">
              <a:lnSpc>
                <a:spcPct val="200000"/>
              </a:lnSpc>
              <a:spcAft>
                <a:spcPts val="600"/>
              </a:spcAft>
              <a:buAutoNum type="arabicPeriod"/>
            </a:pPr>
            <a:r>
              <a:rPr lang="en-US" sz="1400" b="1" dirty="0"/>
              <a:t>Critical Appreciation</a:t>
            </a:r>
          </a:p>
        </p:txBody>
      </p:sp>
      <p:pic>
        <p:nvPicPr>
          <p:cNvPr id="13" name="Picture 13" descr="A picture containing shape&#10;&#10;Description automatically generated">
            <a:extLst>
              <a:ext uri="{FF2B5EF4-FFF2-40B4-BE49-F238E27FC236}">
                <a16:creationId xmlns:a16="http://schemas.microsoft.com/office/drawing/2014/main" id="{337C14E7-66D6-F753-5F4C-060EAA2ACA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0671" y="-6366"/>
            <a:ext cx="5986917" cy="6854252"/>
          </a:xfrm>
          <a:prstGeom prst="rect">
            <a:avLst/>
          </a:prstGeom>
        </p:spPr>
      </p:pic>
      <p:pic>
        <p:nvPicPr>
          <p:cNvPr id="20" name="Picture 20" descr="Icon&#10;&#10;Description automatically generated">
            <a:extLst>
              <a:ext uri="{FF2B5EF4-FFF2-40B4-BE49-F238E27FC236}">
                <a16:creationId xmlns:a16="http://schemas.microsoft.com/office/drawing/2014/main" id="{DF95CB48-0C75-C5CF-A42B-3904759106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993" y="113961"/>
            <a:ext cx="783432" cy="754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127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F1D360D-BDBD-776D-D298-78A6355E307F}"/>
              </a:ext>
            </a:extLst>
          </p:cNvPr>
          <p:cNvGrpSpPr/>
          <p:nvPr/>
        </p:nvGrpSpPr>
        <p:grpSpPr>
          <a:xfrm>
            <a:off x="0" y="1224517"/>
            <a:ext cx="11754173" cy="5400773"/>
            <a:chOff x="469749" y="766579"/>
            <a:chExt cx="8544906" cy="4234046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902D746-1B12-1DF4-2C87-3A7BE0D52891}"/>
                </a:ext>
              </a:extLst>
            </p:cNvPr>
            <p:cNvGrpSpPr/>
            <p:nvPr/>
          </p:nvGrpSpPr>
          <p:grpSpPr>
            <a:xfrm>
              <a:off x="469749" y="766579"/>
              <a:ext cx="8544906" cy="4234046"/>
              <a:chOff x="1823547" y="1311977"/>
              <a:chExt cx="8544906" cy="4234046"/>
            </a:xfrm>
            <a:solidFill>
              <a:schemeClr val="bg1">
                <a:lumMod val="95000"/>
              </a:schemeClr>
            </a:solidFill>
          </p:grpSpPr>
          <p:sp>
            <p:nvSpPr>
              <p:cNvPr id="28" name="Freeform 2">
                <a:extLst>
                  <a:ext uri="{FF2B5EF4-FFF2-40B4-BE49-F238E27FC236}">
                    <a16:creationId xmlns:a16="http://schemas.microsoft.com/office/drawing/2014/main" id="{88CB8D2D-A405-4E32-4BC5-1658A0BFB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055" y="203157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">
                <a:extLst>
                  <a:ext uri="{FF2B5EF4-FFF2-40B4-BE49-F238E27FC236}">
                    <a16:creationId xmlns:a16="http://schemas.microsoft.com/office/drawing/2014/main" id="{E725B5AD-2BBA-A074-DAC6-5B6A9CF1EA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1544" y="1659648"/>
                <a:ext cx="4909177" cy="3270538"/>
              </a:xfrm>
              <a:custGeom>
                <a:avLst/>
                <a:gdLst>
                  <a:gd name="T0" fmla="*/ 1878 w 2059"/>
                  <a:gd name="T1" fmla="*/ 154 h 1371"/>
                  <a:gd name="T2" fmla="*/ 1775 w 2059"/>
                  <a:gd name="T3" fmla="*/ 162 h 1371"/>
                  <a:gd name="T4" fmla="*/ 1593 w 2059"/>
                  <a:gd name="T5" fmla="*/ 102 h 1371"/>
                  <a:gd name="T6" fmla="*/ 1447 w 2059"/>
                  <a:gd name="T7" fmla="*/ 122 h 1371"/>
                  <a:gd name="T8" fmla="*/ 1296 w 2059"/>
                  <a:gd name="T9" fmla="*/ 86 h 1371"/>
                  <a:gd name="T10" fmla="*/ 1237 w 2059"/>
                  <a:gd name="T11" fmla="*/ 24 h 1371"/>
                  <a:gd name="T12" fmla="*/ 1060 w 2059"/>
                  <a:gd name="T13" fmla="*/ 49 h 1371"/>
                  <a:gd name="T14" fmla="*/ 937 w 2059"/>
                  <a:gd name="T15" fmla="*/ 116 h 1371"/>
                  <a:gd name="T16" fmla="*/ 925 w 2059"/>
                  <a:gd name="T17" fmla="*/ 168 h 1371"/>
                  <a:gd name="T18" fmla="*/ 901 w 2059"/>
                  <a:gd name="T19" fmla="*/ 193 h 1371"/>
                  <a:gd name="T20" fmla="*/ 843 w 2059"/>
                  <a:gd name="T21" fmla="*/ 139 h 1371"/>
                  <a:gd name="T22" fmla="*/ 771 w 2059"/>
                  <a:gd name="T23" fmla="*/ 179 h 1371"/>
                  <a:gd name="T24" fmla="*/ 628 w 2059"/>
                  <a:gd name="T25" fmla="*/ 204 h 1371"/>
                  <a:gd name="T26" fmla="*/ 604 w 2059"/>
                  <a:gd name="T27" fmla="*/ 215 h 1371"/>
                  <a:gd name="T28" fmla="*/ 515 w 2059"/>
                  <a:gd name="T29" fmla="*/ 232 h 1371"/>
                  <a:gd name="T30" fmla="*/ 492 w 2059"/>
                  <a:gd name="T31" fmla="*/ 153 h 1371"/>
                  <a:gd name="T32" fmla="*/ 393 w 2059"/>
                  <a:gd name="T33" fmla="*/ 138 h 1371"/>
                  <a:gd name="T34" fmla="*/ 296 w 2059"/>
                  <a:gd name="T35" fmla="*/ 230 h 1371"/>
                  <a:gd name="T36" fmla="*/ 231 w 2059"/>
                  <a:gd name="T37" fmla="*/ 334 h 1371"/>
                  <a:gd name="T38" fmla="*/ 350 w 2059"/>
                  <a:gd name="T39" fmla="*/ 329 h 1371"/>
                  <a:gd name="T40" fmla="*/ 383 w 2059"/>
                  <a:gd name="T41" fmla="*/ 292 h 1371"/>
                  <a:gd name="T42" fmla="*/ 411 w 2059"/>
                  <a:gd name="T43" fmla="*/ 343 h 1371"/>
                  <a:gd name="T44" fmla="*/ 286 w 2059"/>
                  <a:gd name="T45" fmla="*/ 402 h 1371"/>
                  <a:gd name="T46" fmla="*/ 232 w 2059"/>
                  <a:gd name="T47" fmla="*/ 410 h 1371"/>
                  <a:gd name="T48" fmla="*/ 148 w 2059"/>
                  <a:gd name="T49" fmla="*/ 540 h 1371"/>
                  <a:gd name="T50" fmla="*/ 142 w 2059"/>
                  <a:gd name="T51" fmla="*/ 618 h 1371"/>
                  <a:gd name="T52" fmla="*/ 331 w 2059"/>
                  <a:gd name="T53" fmla="*/ 600 h 1371"/>
                  <a:gd name="T54" fmla="*/ 364 w 2059"/>
                  <a:gd name="T55" fmla="*/ 568 h 1371"/>
                  <a:gd name="T56" fmla="*/ 452 w 2059"/>
                  <a:gd name="T57" fmla="*/ 534 h 1371"/>
                  <a:gd name="T58" fmla="*/ 556 w 2059"/>
                  <a:gd name="T59" fmla="*/ 494 h 1371"/>
                  <a:gd name="T60" fmla="*/ 436 w 2059"/>
                  <a:gd name="T61" fmla="*/ 590 h 1371"/>
                  <a:gd name="T62" fmla="*/ 468 w 2059"/>
                  <a:gd name="T63" fmla="*/ 678 h 1371"/>
                  <a:gd name="T64" fmla="*/ 273 w 2059"/>
                  <a:gd name="T65" fmla="*/ 612 h 1371"/>
                  <a:gd name="T66" fmla="*/ 69 w 2059"/>
                  <a:gd name="T67" fmla="*/ 700 h 1371"/>
                  <a:gd name="T68" fmla="*/ 197 w 2059"/>
                  <a:gd name="T69" fmla="*/ 939 h 1371"/>
                  <a:gd name="T70" fmla="*/ 296 w 2059"/>
                  <a:gd name="T71" fmla="*/ 1156 h 1371"/>
                  <a:gd name="T72" fmla="*/ 491 w 2059"/>
                  <a:gd name="T73" fmla="*/ 1278 h 1371"/>
                  <a:gd name="T74" fmla="*/ 569 w 2059"/>
                  <a:gd name="T75" fmla="*/ 1029 h 1371"/>
                  <a:gd name="T76" fmla="*/ 595 w 2059"/>
                  <a:gd name="T77" fmla="*/ 874 h 1371"/>
                  <a:gd name="T78" fmla="*/ 562 w 2059"/>
                  <a:gd name="T79" fmla="*/ 795 h 1371"/>
                  <a:gd name="T80" fmla="*/ 728 w 2059"/>
                  <a:gd name="T81" fmla="*/ 732 h 1371"/>
                  <a:gd name="T82" fmla="*/ 667 w 2059"/>
                  <a:gd name="T83" fmla="*/ 694 h 1371"/>
                  <a:gd name="T84" fmla="*/ 862 w 2059"/>
                  <a:gd name="T85" fmla="*/ 776 h 1371"/>
                  <a:gd name="T86" fmla="*/ 983 w 2059"/>
                  <a:gd name="T87" fmla="*/ 840 h 1371"/>
                  <a:gd name="T88" fmla="*/ 1126 w 2059"/>
                  <a:gd name="T89" fmla="*/ 835 h 1371"/>
                  <a:gd name="T90" fmla="*/ 1190 w 2059"/>
                  <a:gd name="T91" fmla="*/ 977 h 1371"/>
                  <a:gd name="T92" fmla="*/ 1246 w 2059"/>
                  <a:gd name="T93" fmla="*/ 889 h 1371"/>
                  <a:gd name="T94" fmla="*/ 1373 w 2059"/>
                  <a:gd name="T95" fmla="*/ 696 h 1371"/>
                  <a:gd name="T96" fmla="*/ 1331 w 2059"/>
                  <a:gd name="T97" fmla="*/ 598 h 1371"/>
                  <a:gd name="T98" fmla="*/ 1404 w 2059"/>
                  <a:gd name="T99" fmla="*/ 586 h 1371"/>
                  <a:gd name="T100" fmla="*/ 1437 w 2059"/>
                  <a:gd name="T101" fmla="*/ 582 h 1371"/>
                  <a:gd name="T102" fmla="*/ 1510 w 2059"/>
                  <a:gd name="T103" fmla="*/ 392 h 1371"/>
                  <a:gd name="T104" fmla="*/ 1758 w 2059"/>
                  <a:gd name="T105" fmla="*/ 296 h 1371"/>
                  <a:gd name="T106" fmla="*/ 1727 w 2059"/>
                  <a:gd name="T107" fmla="*/ 353 h 1371"/>
                  <a:gd name="T108" fmla="*/ 1780 w 2059"/>
                  <a:gd name="T109" fmla="*/ 348 h 1371"/>
                  <a:gd name="T110" fmla="*/ 1953 w 2059"/>
                  <a:gd name="T111" fmla="*/ 270 h 1371"/>
                  <a:gd name="T112" fmla="*/ 2028 w 2059"/>
                  <a:gd name="T113" fmla="*/ 251 h 1371"/>
                  <a:gd name="T114" fmla="*/ 658 w 2059"/>
                  <a:gd name="T115" fmla="*/ 590 h 1371"/>
                  <a:gd name="T116" fmla="*/ 687 w 2059"/>
                  <a:gd name="T117" fmla="*/ 546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59" h="1371">
                    <a:moveTo>
                      <a:pt x="2059" y="223"/>
                    </a:moveTo>
                    <a:cubicBezTo>
                      <a:pt x="2059" y="216"/>
                      <a:pt x="2050" y="214"/>
                      <a:pt x="2045" y="210"/>
                    </a:cubicBezTo>
                    <a:cubicBezTo>
                      <a:pt x="2042" y="208"/>
                      <a:pt x="2038" y="208"/>
                      <a:pt x="2034" y="207"/>
                    </a:cubicBezTo>
                    <a:cubicBezTo>
                      <a:pt x="2024" y="203"/>
                      <a:pt x="2017" y="200"/>
                      <a:pt x="2018" y="218"/>
                    </a:cubicBezTo>
                    <a:cubicBezTo>
                      <a:pt x="2012" y="205"/>
                      <a:pt x="2006" y="194"/>
                      <a:pt x="1994" y="188"/>
                    </a:cubicBezTo>
                    <a:cubicBezTo>
                      <a:pt x="1989" y="186"/>
                      <a:pt x="1984" y="185"/>
                      <a:pt x="1979" y="182"/>
                    </a:cubicBezTo>
                    <a:cubicBezTo>
                      <a:pt x="1952" y="167"/>
                      <a:pt x="1924" y="152"/>
                      <a:pt x="1891" y="156"/>
                    </a:cubicBezTo>
                    <a:cubicBezTo>
                      <a:pt x="1887" y="157"/>
                      <a:pt x="1882" y="157"/>
                      <a:pt x="1878" y="154"/>
                    </a:cubicBezTo>
                    <a:cubicBezTo>
                      <a:pt x="1874" y="151"/>
                      <a:pt x="1869" y="149"/>
                      <a:pt x="1866" y="152"/>
                    </a:cubicBezTo>
                    <a:cubicBezTo>
                      <a:pt x="1862" y="156"/>
                      <a:pt x="1864" y="161"/>
                      <a:pt x="1867" y="166"/>
                    </a:cubicBezTo>
                    <a:cubicBezTo>
                      <a:pt x="1869" y="168"/>
                      <a:pt x="1872" y="171"/>
                      <a:pt x="1867" y="174"/>
                    </a:cubicBezTo>
                    <a:cubicBezTo>
                      <a:pt x="1861" y="178"/>
                      <a:pt x="1843" y="170"/>
                      <a:pt x="1842" y="163"/>
                    </a:cubicBezTo>
                    <a:cubicBezTo>
                      <a:pt x="1844" y="160"/>
                      <a:pt x="1851" y="165"/>
                      <a:pt x="1852" y="156"/>
                    </a:cubicBezTo>
                    <a:cubicBezTo>
                      <a:pt x="1845" y="158"/>
                      <a:pt x="1839" y="152"/>
                      <a:pt x="1833" y="160"/>
                    </a:cubicBezTo>
                    <a:cubicBezTo>
                      <a:pt x="1831" y="163"/>
                      <a:pt x="1823" y="165"/>
                      <a:pt x="1820" y="164"/>
                    </a:cubicBezTo>
                    <a:cubicBezTo>
                      <a:pt x="1805" y="158"/>
                      <a:pt x="1790" y="163"/>
                      <a:pt x="1775" y="162"/>
                    </a:cubicBezTo>
                    <a:cubicBezTo>
                      <a:pt x="1769" y="161"/>
                      <a:pt x="1753" y="165"/>
                      <a:pt x="1758" y="148"/>
                    </a:cubicBezTo>
                    <a:cubicBezTo>
                      <a:pt x="1759" y="146"/>
                      <a:pt x="1754" y="140"/>
                      <a:pt x="1751" y="139"/>
                    </a:cubicBezTo>
                    <a:cubicBezTo>
                      <a:pt x="1741" y="137"/>
                      <a:pt x="1731" y="130"/>
                      <a:pt x="1720" y="134"/>
                    </a:cubicBezTo>
                    <a:cubicBezTo>
                      <a:pt x="1694" y="145"/>
                      <a:pt x="1672" y="129"/>
                      <a:pt x="1649" y="123"/>
                    </a:cubicBezTo>
                    <a:cubicBezTo>
                      <a:pt x="1651" y="118"/>
                      <a:pt x="1659" y="122"/>
                      <a:pt x="1656" y="115"/>
                    </a:cubicBezTo>
                    <a:cubicBezTo>
                      <a:pt x="1654" y="111"/>
                      <a:pt x="1628" y="111"/>
                      <a:pt x="1624" y="115"/>
                    </a:cubicBezTo>
                    <a:cubicBezTo>
                      <a:pt x="1621" y="119"/>
                      <a:pt x="1618" y="122"/>
                      <a:pt x="1614" y="123"/>
                    </a:cubicBezTo>
                    <a:cubicBezTo>
                      <a:pt x="1611" y="111"/>
                      <a:pt x="1605" y="104"/>
                      <a:pt x="1593" y="102"/>
                    </a:cubicBezTo>
                    <a:cubicBezTo>
                      <a:pt x="1577" y="99"/>
                      <a:pt x="1564" y="107"/>
                      <a:pt x="1549" y="110"/>
                    </a:cubicBezTo>
                    <a:cubicBezTo>
                      <a:pt x="1553" y="115"/>
                      <a:pt x="1559" y="118"/>
                      <a:pt x="1557" y="124"/>
                    </a:cubicBezTo>
                    <a:cubicBezTo>
                      <a:pt x="1556" y="128"/>
                      <a:pt x="1549" y="124"/>
                      <a:pt x="1547" y="126"/>
                    </a:cubicBezTo>
                    <a:cubicBezTo>
                      <a:pt x="1539" y="134"/>
                      <a:pt x="1532" y="128"/>
                      <a:pt x="1524" y="126"/>
                    </a:cubicBezTo>
                    <a:cubicBezTo>
                      <a:pt x="1512" y="124"/>
                      <a:pt x="1498" y="131"/>
                      <a:pt x="1486" y="121"/>
                    </a:cubicBezTo>
                    <a:cubicBezTo>
                      <a:pt x="1481" y="117"/>
                      <a:pt x="1481" y="125"/>
                      <a:pt x="1479" y="128"/>
                    </a:cubicBezTo>
                    <a:cubicBezTo>
                      <a:pt x="1475" y="134"/>
                      <a:pt x="1470" y="143"/>
                      <a:pt x="1461" y="136"/>
                    </a:cubicBezTo>
                    <a:cubicBezTo>
                      <a:pt x="1455" y="133"/>
                      <a:pt x="1451" y="127"/>
                      <a:pt x="1447" y="122"/>
                    </a:cubicBezTo>
                    <a:cubicBezTo>
                      <a:pt x="1446" y="120"/>
                      <a:pt x="1443" y="118"/>
                      <a:pt x="1445" y="114"/>
                    </a:cubicBezTo>
                    <a:cubicBezTo>
                      <a:pt x="1452" y="101"/>
                      <a:pt x="1444" y="87"/>
                      <a:pt x="1430" y="89"/>
                    </a:cubicBezTo>
                    <a:cubicBezTo>
                      <a:pt x="1424" y="89"/>
                      <a:pt x="1420" y="87"/>
                      <a:pt x="1415" y="86"/>
                    </a:cubicBezTo>
                    <a:cubicBezTo>
                      <a:pt x="1408" y="84"/>
                      <a:pt x="1396" y="77"/>
                      <a:pt x="1394" y="87"/>
                    </a:cubicBezTo>
                    <a:cubicBezTo>
                      <a:pt x="1391" y="100"/>
                      <a:pt x="1380" y="99"/>
                      <a:pt x="1375" y="97"/>
                    </a:cubicBezTo>
                    <a:cubicBezTo>
                      <a:pt x="1364" y="93"/>
                      <a:pt x="1347" y="104"/>
                      <a:pt x="1340" y="86"/>
                    </a:cubicBezTo>
                    <a:cubicBezTo>
                      <a:pt x="1340" y="85"/>
                      <a:pt x="1336" y="86"/>
                      <a:pt x="1335" y="85"/>
                    </a:cubicBezTo>
                    <a:cubicBezTo>
                      <a:pt x="1322" y="82"/>
                      <a:pt x="1309" y="85"/>
                      <a:pt x="1296" y="86"/>
                    </a:cubicBezTo>
                    <a:cubicBezTo>
                      <a:pt x="1294" y="86"/>
                      <a:pt x="1295" y="89"/>
                      <a:pt x="1291" y="87"/>
                    </a:cubicBezTo>
                    <a:cubicBezTo>
                      <a:pt x="1282" y="83"/>
                      <a:pt x="1272" y="81"/>
                      <a:pt x="1263" y="78"/>
                    </a:cubicBezTo>
                    <a:cubicBezTo>
                      <a:pt x="1260" y="77"/>
                      <a:pt x="1257" y="77"/>
                      <a:pt x="1255" y="81"/>
                    </a:cubicBezTo>
                    <a:cubicBezTo>
                      <a:pt x="1248" y="91"/>
                      <a:pt x="1230" y="97"/>
                      <a:pt x="1215" y="93"/>
                    </a:cubicBezTo>
                    <a:cubicBezTo>
                      <a:pt x="1239" y="83"/>
                      <a:pt x="1260" y="70"/>
                      <a:pt x="1282" y="59"/>
                    </a:cubicBezTo>
                    <a:cubicBezTo>
                      <a:pt x="1289" y="55"/>
                      <a:pt x="1295" y="50"/>
                      <a:pt x="1293" y="43"/>
                    </a:cubicBezTo>
                    <a:cubicBezTo>
                      <a:pt x="1291" y="35"/>
                      <a:pt x="1285" y="26"/>
                      <a:pt x="1278" y="25"/>
                    </a:cubicBezTo>
                    <a:cubicBezTo>
                      <a:pt x="1265" y="22"/>
                      <a:pt x="1250" y="23"/>
                      <a:pt x="1237" y="24"/>
                    </a:cubicBezTo>
                    <a:cubicBezTo>
                      <a:pt x="1225" y="26"/>
                      <a:pt x="1219" y="14"/>
                      <a:pt x="1208" y="14"/>
                    </a:cubicBezTo>
                    <a:cubicBezTo>
                      <a:pt x="1205" y="14"/>
                      <a:pt x="1208" y="12"/>
                      <a:pt x="1209" y="12"/>
                    </a:cubicBezTo>
                    <a:cubicBezTo>
                      <a:pt x="1219" y="7"/>
                      <a:pt x="1209" y="6"/>
                      <a:pt x="1207" y="4"/>
                    </a:cubicBezTo>
                    <a:cubicBezTo>
                      <a:pt x="1200" y="0"/>
                      <a:pt x="1192" y="1"/>
                      <a:pt x="1184" y="3"/>
                    </a:cubicBezTo>
                    <a:cubicBezTo>
                      <a:pt x="1169" y="7"/>
                      <a:pt x="1167" y="29"/>
                      <a:pt x="1148" y="30"/>
                    </a:cubicBezTo>
                    <a:cubicBezTo>
                      <a:pt x="1143" y="30"/>
                      <a:pt x="1128" y="39"/>
                      <a:pt x="1126" y="35"/>
                    </a:cubicBezTo>
                    <a:cubicBezTo>
                      <a:pt x="1123" y="25"/>
                      <a:pt x="1116" y="31"/>
                      <a:pt x="1113" y="32"/>
                    </a:cubicBezTo>
                    <a:cubicBezTo>
                      <a:pt x="1097" y="42"/>
                      <a:pt x="1078" y="43"/>
                      <a:pt x="1060" y="49"/>
                    </a:cubicBezTo>
                    <a:cubicBezTo>
                      <a:pt x="1049" y="53"/>
                      <a:pt x="1033" y="56"/>
                      <a:pt x="1038" y="75"/>
                    </a:cubicBezTo>
                    <a:cubicBezTo>
                      <a:pt x="1040" y="79"/>
                      <a:pt x="1038" y="80"/>
                      <a:pt x="1034" y="81"/>
                    </a:cubicBezTo>
                    <a:cubicBezTo>
                      <a:pt x="1019" y="86"/>
                      <a:pt x="1005" y="83"/>
                      <a:pt x="991" y="84"/>
                    </a:cubicBezTo>
                    <a:cubicBezTo>
                      <a:pt x="985" y="85"/>
                      <a:pt x="978" y="85"/>
                      <a:pt x="978" y="93"/>
                    </a:cubicBezTo>
                    <a:cubicBezTo>
                      <a:pt x="979" y="99"/>
                      <a:pt x="976" y="108"/>
                      <a:pt x="988" y="108"/>
                    </a:cubicBezTo>
                    <a:cubicBezTo>
                      <a:pt x="993" y="108"/>
                      <a:pt x="996" y="113"/>
                      <a:pt x="997" y="118"/>
                    </a:cubicBezTo>
                    <a:cubicBezTo>
                      <a:pt x="987" y="124"/>
                      <a:pt x="982" y="115"/>
                      <a:pt x="976" y="112"/>
                    </a:cubicBezTo>
                    <a:cubicBezTo>
                      <a:pt x="962" y="105"/>
                      <a:pt x="946" y="107"/>
                      <a:pt x="937" y="116"/>
                    </a:cubicBezTo>
                    <a:cubicBezTo>
                      <a:pt x="934" y="120"/>
                      <a:pt x="937" y="122"/>
                      <a:pt x="939" y="124"/>
                    </a:cubicBezTo>
                    <a:cubicBezTo>
                      <a:pt x="941" y="127"/>
                      <a:pt x="947" y="125"/>
                      <a:pt x="947" y="131"/>
                    </a:cubicBezTo>
                    <a:cubicBezTo>
                      <a:pt x="933" y="133"/>
                      <a:pt x="924" y="129"/>
                      <a:pt x="928" y="112"/>
                    </a:cubicBezTo>
                    <a:cubicBezTo>
                      <a:pt x="929" y="109"/>
                      <a:pt x="931" y="104"/>
                      <a:pt x="925" y="102"/>
                    </a:cubicBezTo>
                    <a:cubicBezTo>
                      <a:pt x="921" y="113"/>
                      <a:pt x="920" y="115"/>
                      <a:pt x="911" y="120"/>
                    </a:cubicBezTo>
                    <a:cubicBezTo>
                      <a:pt x="903" y="124"/>
                      <a:pt x="902" y="127"/>
                      <a:pt x="909" y="133"/>
                    </a:cubicBezTo>
                    <a:cubicBezTo>
                      <a:pt x="913" y="137"/>
                      <a:pt x="915" y="141"/>
                      <a:pt x="912" y="149"/>
                    </a:cubicBezTo>
                    <a:cubicBezTo>
                      <a:pt x="905" y="163"/>
                      <a:pt x="909" y="168"/>
                      <a:pt x="925" y="168"/>
                    </a:cubicBezTo>
                    <a:cubicBezTo>
                      <a:pt x="933" y="168"/>
                      <a:pt x="940" y="168"/>
                      <a:pt x="947" y="173"/>
                    </a:cubicBezTo>
                    <a:cubicBezTo>
                      <a:pt x="955" y="177"/>
                      <a:pt x="953" y="181"/>
                      <a:pt x="947" y="186"/>
                    </a:cubicBezTo>
                    <a:cubicBezTo>
                      <a:pt x="947" y="185"/>
                      <a:pt x="946" y="184"/>
                      <a:pt x="945" y="182"/>
                    </a:cubicBezTo>
                    <a:cubicBezTo>
                      <a:pt x="942" y="173"/>
                      <a:pt x="937" y="171"/>
                      <a:pt x="926" y="173"/>
                    </a:cubicBezTo>
                    <a:cubicBezTo>
                      <a:pt x="914" y="176"/>
                      <a:pt x="919" y="182"/>
                      <a:pt x="921" y="187"/>
                    </a:cubicBezTo>
                    <a:cubicBezTo>
                      <a:pt x="921" y="189"/>
                      <a:pt x="921" y="190"/>
                      <a:pt x="920" y="192"/>
                    </a:cubicBezTo>
                    <a:cubicBezTo>
                      <a:pt x="911" y="211"/>
                      <a:pt x="885" y="220"/>
                      <a:pt x="864" y="211"/>
                    </a:cubicBezTo>
                    <a:cubicBezTo>
                      <a:pt x="886" y="209"/>
                      <a:pt x="891" y="206"/>
                      <a:pt x="901" y="193"/>
                    </a:cubicBezTo>
                    <a:cubicBezTo>
                      <a:pt x="905" y="188"/>
                      <a:pt x="909" y="180"/>
                      <a:pt x="904" y="176"/>
                    </a:cubicBezTo>
                    <a:cubicBezTo>
                      <a:pt x="897" y="170"/>
                      <a:pt x="898" y="163"/>
                      <a:pt x="898" y="156"/>
                    </a:cubicBezTo>
                    <a:cubicBezTo>
                      <a:pt x="898" y="146"/>
                      <a:pt x="904" y="136"/>
                      <a:pt x="894" y="127"/>
                    </a:cubicBezTo>
                    <a:cubicBezTo>
                      <a:pt x="891" y="125"/>
                      <a:pt x="894" y="123"/>
                      <a:pt x="895" y="121"/>
                    </a:cubicBezTo>
                    <a:cubicBezTo>
                      <a:pt x="899" y="114"/>
                      <a:pt x="902" y="106"/>
                      <a:pt x="893" y="100"/>
                    </a:cubicBezTo>
                    <a:cubicBezTo>
                      <a:pt x="883" y="94"/>
                      <a:pt x="866" y="98"/>
                      <a:pt x="862" y="106"/>
                    </a:cubicBezTo>
                    <a:cubicBezTo>
                      <a:pt x="858" y="113"/>
                      <a:pt x="857" y="123"/>
                      <a:pt x="849" y="125"/>
                    </a:cubicBezTo>
                    <a:cubicBezTo>
                      <a:pt x="840" y="128"/>
                      <a:pt x="839" y="132"/>
                      <a:pt x="843" y="139"/>
                    </a:cubicBezTo>
                    <a:cubicBezTo>
                      <a:pt x="846" y="143"/>
                      <a:pt x="844" y="147"/>
                      <a:pt x="842" y="150"/>
                    </a:cubicBezTo>
                    <a:cubicBezTo>
                      <a:pt x="839" y="155"/>
                      <a:pt x="840" y="159"/>
                      <a:pt x="846" y="160"/>
                    </a:cubicBezTo>
                    <a:cubicBezTo>
                      <a:pt x="851" y="161"/>
                      <a:pt x="853" y="165"/>
                      <a:pt x="855" y="169"/>
                    </a:cubicBezTo>
                    <a:cubicBezTo>
                      <a:pt x="857" y="172"/>
                      <a:pt x="864" y="173"/>
                      <a:pt x="860" y="178"/>
                    </a:cubicBezTo>
                    <a:cubicBezTo>
                      <a:pt x="856" y="182"/>
                      <a:pt x="852" y="180"/>
                      <a:pt x="848" y="177"/>
                    </a:cubicBezTo>
                    <a:cubicBezTo>
                      <a:pt x="826" y="164"/>
                      <a:pt x="802" y="153"/>
                      <a:pt x="775" y="156"/>
                    </a:cubicBezTo>
                    <a:cubicBezTo>
                      <a:pt x="775" y="159"/>
                      <a:pt x="775" y="164"/>
                      <a:pt x="776" y="166"/>
                    </a:cubicBezTo>
                    <a:cubicBezTo>
                      <a:pt x="781" y="173"/>
                      <a:pt x="775" y="176"/>
                      <a:pt x="771" y="179"/>
                    </a:cubicBezTo>
                    <a:cubicBezTo>
                      <a:pt x="766" y="182"/>
                      <a:pt x="763" y="179"/>
                      <a:pt x="763" y="173"/>
                    </a:cubicBezTo>
                    <a:cubicBezTo>
                      <a:pt x="763" y="172"/>
                      <a:pt x="759" y="171"/>
                      <a:pt x="758" y="171"/>
                    </a:cubicBezTo>
                    <a:cubicBezTo>
                      <a:pt x="747" y="177"/>
                      <a:pt x="733" y="175"/>
                      <a:pt x="722" y="181"/>
                    </a:cubicBezTo>
                    <a:cubicBezTo>
                      <a:pt x="717" y="183"/>
                      <a:pt x="714" y="187"/>
                      <a:pt x="709" y="184"/>
                    </a:cubicBezTo>
                    <a:cubicBezTo>
                      <a:pt x="703" y="181"/>
                      <a:pt x="713" y="176"/>
                      <a:pt x="707" y="172"/>
                    </a:cubicBezTo>
                    <a:cubicBezTo>
                      <a:pt x="698" y="178"/>
                      <a:pt x="687" y="178"/>
                      <a:pt x="677" y="181"/>
                    </a:cubicBezTo>
                    <a:cubicBezTo>
                      <a:pt x="666" y="184"/>
                      <a:pt x="652" y="188"/>
                      <a:pt x="648" y="197"/>
                    </a:cubicBezTo>
                    <a:cubicBezTo>
                      <a:pt x="642" y="208"/>
                      <a:pt x="635" y="203"/>
                      <a:pt x="628" y="204"/>
                    </a:cubicBezTo>
                    <a:cubicBezTo>
                      <a:pt x="626" y="204"/>
                      <a:pt x="621" y="200"/>
                      <a:pt x="620" y="197"/>
                    </a:cubicBezTo>
                    <a:cubicBezTo>
                      <a:pt x="618" y="192"/>
                      <a:pt x="625" y="193"/>
                      <a:pt x="627" y="191"/>
                    </a:cubicBezTo>
                    <a:cubicBezTo>
                      <a:pt x="629" y="189"/>
                      <a:pt x="636" y="190"/>
                      <a:pt x="633" y="185"/>
                    </a:cubicBezTo>
                    <a:cubicBezTo>
                      <a:pt x="631" y="179"/>
                      <a:pt x="626" y="174"/>
                      <a:pt x="618" y="174"/>
                    </a:cubicBezTo>
                    <a:cubicBezTo>
                      <a:pt x="615" y="174"/>
                      <a:pt x="609" y="173"/>
                      <a:pt x="610" y="178"/>
                    </a:cubicBezTo>
                    <a:cubicBezTo>
                      <a:pt x="612" y="186"/>
                      <a:pt x="603" y="195"/>
                      <a:pt x="612" y="203"/>
                    </a:cubicBezTo>
                    <a:cubicBezTo>
                      <a:pt x="615" y="206"/>
                      <a:pt x="612" y="211"/>
                      <a:pt x="610" y="215"/>
                    </a:cubicBezTo>
                    <a:cubicBezTo>
                      <a:pt x="608" y="219"/>
                      <a:pt x="606" y="216"/>
                      <a:pt x="604" y="215"/>
                    </a:cubicBezTo>
                    <a:cubicBezTo>
                      <a:pt x="590" y="204"/>
                      <a:pt x="581" y="219"/>
                      <a:pt x="571" y="223"/>
                    </a:cubicBezTo>
                    <a:cubicBezTo>
                      <a:pt x="563" y="226"/>
                      <a:pt x="570" y="236"/>
                      <a:pt x="573" y="243"/>
                    </a:cubicBezTo>
                    <a:cubicBezTo>
                      <a:pt x="563" y="243"/>
                      <a:pt x="555" y="241"/>
                      <a:pt x="549" y="237"/>
                    </a:cubicBezTo>
                    <a:cubicBezTo>
                      <a:pt x="544" y="234"/>
                      <a:pt x="540" y="234"/>
                      <a:pt x="535" y="234"/>
                    </a:cubicBezTo>
                    <a:cubicBezTo>
                      <a:pt x="533" y="235"/>
                      <a:pt x="532" y="236"/>
                      <a:pt x="533" y="239"/>
                    </a:cubicBezTo>
                    <a:cubicBezTo>
                      <a:pt x="535" y="246"/>
                      <a:pt x="540" y="246"/>
                      <a:pt x="545" y="247"/>
                    </a:cubicBezTo>
                    <a:cubicBezTo>
                      <a:pt x="546" y="247"/>
                      <a:pt x="546" y="248"/>
                      <a:pt x="547" y="249"/>
                    </a:cubicBezTo>
                    <a:cubicBezTo>
                      <a:pt x="531" y="255"/>
                      <a:pt x="513" y="246"/>
                      <a:pt x="515" y="232"/>
                    </a:cubicBezTo>
                    <a:cubicBezTo>
                      <a:pt x="517" y="218"/>
                      <a:pt x="509" y="216"/>
                      <a:pt x="502" y="210"/>
                    </a:cubicBezTo>
                    <a:cubicBezTo>
                      <a:pt x="500" y="209"/>
                      <a:pt x="496" y="211"/>
                      <a:pt x="497" y="206"/>
                    </a:cubicBezTo>
                    <a:cubicBezTo>
                      <a:pt x="500" y="203"/>
                      <a:pt x="503" y="205"/>
                      <a:pt x="506" y="206"/>
                    </a:cubicBezTo>
                    <a:cubicBezTo>
                      <a:pt x="523" y="215"/>
                      <a:pt x="542" y="218"/>
                      <a:pt x="561" y="216"/>
                    </a:cubicBezTo>
                    <a:cubicBezTo>
                      <a:pt x="569" y="215"/>
                      <a:pt x="577" y="212"/>
                      <a:pt x="580" y="202"/>
                    </a:cubicBezTo>
                    <a:cubicBezTo>
                      <a:pt x="582" y="193"/>
                      <a:pt x="575" y="189"/>
                      <a:pt x="568" y="185"/>
                    </a:cubicBezTo>
                    <a:cubicBezTo>
                      <a:pt x="558" y="179"/>
                      <a:pt x="544" y="175"/>
                      <a:pt x="536" y="167"/>
                    </a:cubicBezTo>
                    <a:cubicBezTo>
                      <a:pt x="522" y="156"/>
                      <a:pt x="502" y="172"/>
                      <a:pt x="492" y="153"/>
                    </a:cubicBezTo>
                    <a:cubicBezTo>
                      <a:pt x="492" y="153"/>
                      <a:pt x="490" y="153"/>
                      <a:pt x="489" y="153"/>
                    </a:cubicBezTo>
                    <a:cubicBezTo>
                      <a:pt x="482" y="157"/>
                      <a:pt x="474" y="151"/>
                      <a:pt x="467" y="155"/>
                    </a:cubicBezTo>
                    <a:cubicBezTo>
                      <a:pt x="466" y="151"/>
                      <a:pt x="468" y="151"/>
                      <a:pt x="470" y="150"/>
                    </a:cubicBezTo>
                    <a:cubicBezTo>
                      <a:pt x="473" y="148"/>
                      <a:pt x="477" y="146"/>
                      <a:pt x="477" y="141"/>
                    </a:cubicBezTo>
                    <a:cubicBezTo>
                      <a:pt x="476" y="139"/>
                      <a:pt x="446" y="129"/>
                      <a:pt x="445" y="131"/>
                    </a:cubicBezTo>
                    <a:cubicBezTo>
                      <a:pt x="442" y="142"/>
                      <a:pt x="428" y="134"/>
                      <a:pt x="424" y="147"/>
                    </a:cubicBezTo>
                    <a:cubicBezTo>
                      <a:pt x="422" y="138"/>
                      <a:pt x="428" y="134"/>
                      <a:pt x="429" y="131"/>
                    </a:cubicBezTo>
                    <a:cubicBezTo>
                      <a:pt x="415" y="127"/>
                      <a:pt x="408" y="149"/>
                      <a:pt x="393" y="138"/>
                    </a:cubicBezTo>
                    <a:cubicBezTo>
                      <a:pt x="393" y="139"/>
                      <a:pt x="393" y="140"/>
                      <a:pt x="392" y="140"/>
                    </a:cubicBezTo>
                    <a:cubicBezTo>
                      <a:pt x="388" y="148"/>
                      <a:pt x="376" y="153"/>
                      <a:pt x="369" y="150"/>
                    </a:cubicBezTo>
                    <a:cubicBezTo>
                      <a:pt x="365" y="149"/>
                      <a:pt x="344" y="157"/>
                      <a:pt x="343" y="161"/>
                    </a:cubicBezTo>
                    <a:cubicBezTo>
                      <a:pt x="342" y="162"/>
                      <a:pt x="341" y="164"/>
                      <a:pt x="342" y="165"/>
                    </a:cubicBezTo>
                    <a:cubicBezTo>
                      <a:pt x="347" y="175"/>
                      <a:pt x="338" y="172"/>
                      <a:pt x="336" y="170"/>
                    </a:cubicBezTo>
                    <a:cubicBezTo>
                      <a:pt x="330" y="168"/>
                      <a:pt x="326" y="165"/>
                      <a:pt x="322" y="172"/>
                    </a:cubicBezTo>
                    <a:cubicBezTo>
                      <a:pt x="318" y="181"/>
                      <a:pt x="329" y="178"/>
                      <a:pt x="330" y="181"/>
                    </a:cubicBezTo>
                    <a:cubicBezTo>
                      <a:pt x="320" y="198"/>
                      <a:pt x="302" y="209"/>
                      <a:pt x="296" y="230"/>
                    </a:cubicBezTo>
                    <a:cubicBezTo>
                      <a:pt x="295" y="234"/>
                      <a:pt x="290" y="246"/>
                      <a:pt x="280" y="246"/>
                    </a:cubicBezTo>
                    <a:cubicBezTo>
                      <a:pt x="276" y="246"/>
                      <a:pt x="276" y="249"/>
                      <a:pt x="273" y="252"/>
                    </a:cubicBezTo>
                    <a:cubicBezTo>
                      <a:pt x="265" y="262"/>
                      <a:pt x="252" y="268"/>
                      <a:pt x="241" y="276"/>
                    </a:cubicBezTo>
                    <a:cubicBezTo>
                      <a:pt x="235" y="280"/>
                      <a:pt x="225" y="279"/>
                      <a:pt x="226" y="289"/>
                    </a:cubicBezTo>
                    <a:cubicBezTo>
                      <a:pt x="227" y="299"/>
                      <a:pt x="220" y="311"/>
                      <a:pt x="235" y="314"/>
                    </a:cubicBezTo>
                    <a:cubicBezTo>
                      <a:pt x="236" y="322"/>
                      <a:pt x="225" y="313"/>
                      <a:pt x="226" y="321"/>
                    </a:cubicBezTo>
                    <a:cubicBezTo>
                      <a:pt x="227" y="327"/>
                      <a:pt x="234" y="321"/>
                      <a:pt x="237" y="325"/>
                    </a:cubicBezTo>
                    <a:cubicBezTo>
                      <a:pt x="236" y="330"/>
                      <a:pt x="230" y="331"/>
                      <a:pt x="231" y="334"/>
                    </a:cubicBezTo>
                    <a:cubicBezTo>
                      <a:pt x="238" y="340"/>
                      <a:pt x="245" y="344"/>
                      <a:pt x="253" y="342"/>
                    </a:cubicBezTo>
                    <a:cubicBezTo>
                      <a:pt x="260" y="339"/>
                      <a:pt x="266" y="333"/>
                      <a:pt x="272" y="329"/>
                    </a:cubicBezTo>
                    <a:cubicBezTo>
                      <a:pt x="278" y="326"/>
                      <a:pt x="284" y="323"/>
                      <a:pt x="286" y="332"/>
                    </a:cubicBezTo>
                    <a:cubicBezTo>
                      <a:pt x="289" y="348"/>
                      <a:pt x="301" y="360"/>
                      <a:pt x="304" y="376"/>
                    </a:cubicBezTo>
                    <a:cubicBezTo>
                      <a:pt x="305" y="382"/>
                      <a:pt x="309" y="383"/>
                      <a:pt x="311" y="380"/>
                    </a:cubicBezTo>
                    <a:cubicBezTo>
                      <a:pt x="316" y="373"/>
                      <a:pt x="324" y="373"/>
                      <a:pt x="332" y="370"/>
                    </a:cubicBezTo>
                    <a:cubicBezTo>
                      <a:pt x="335" y="368"/>
                      <a:pt x="341" y="366"/>
                      <a:pt x="339" y="357"/>
                    </a:cubicBezTo>
                    <a:cubicBezTo>
                      <a:pt x="337" y="348"/>
                      <a:pt x="337" y="336"/>
                      <a:pt x="350" y="329"/>
                    </a:cubicBezTo>
                    <a:cubicBezTo>
                      <a:pt x="361" y="323"/>
                      <a:pt x="360" y="309"/>
                      <a:pt x="350" y="307"/>
                    </a:cubicBezTo>
                    <a:cubicBezTo>
                      <a:pt x="339" y="304"/>
                      <a:pt x="342" y="296"/>
                      <a:pt x="343" y="290"/>
                    </a:cubicBezTo>
                    <a:cubicBezTo>
                      <a:pt x="346" y="275"/>
                      <a:pt x="357" y="265"/>
                      <a:pt x="370" y="258"/>
                    </a:cubicBezTo>
                    <a:cubicBezTo>
                      <a:pt x="378" y="254"/>
                      <a:pt x="384" y="250"/>
                      <a:pt x="385" y="239"/>
                    </a:cubicBezTo>
                    <a:cubicBezTo>
                      <a:pt x="387" y="225"/>
                      <a:pt x="400" y="218"/>
                      <a:pt x="414" y="222"/>
                    </a:cubicBezTo>
                    <a:cubicBezTo>
                      <a:pt x="419" y="224"/>
                      <a:pt x="423" y="229"/>
                      <a:pt x="419" y="235"/>
                    </a:cubicBezTo>
                    <a:cubicBezTo>
                      <a:pt x="415" y="240"/>
                      <a:pt x="411" y="246"/>
                      <a:pt x="406" y="250"/>
                    </a:cubicBezTo>
                    <a:cubicBezTo>
                      <a:pt x="391" y="260"/>
                      <a:pt x="380" y="269"/>
                      <a:pt x="383" y="292"/>
                    </a:cubicBezTo>
                    <a:cubicBezTo>
                      <a:pt x="385" y="304"/>
                      <a:pt x="388" y="309"/>
                      <a:pt x="396" y="311"/>
                    </a:cubicBezTo>
                    <a:cubicBezTo>
                      <a:pt x="406" y="313"/>
                      <a:pt x="416" y="315"/>
                      <a:pt x="425" y="309"/>
                    </a:cubicBezTo>
                    <a:cubicBezTo>
                      <a:pt x="433" y="305"/>
                      <a:pt x="442" y="307"/>
                      <a:pt x="450" y="306"/>
                    </a:cubicBezTo>
                    <a:cubicBezTo>
                      <a:pt x="454" y="305"/>
                      <a:pt x="457" y="307"/>
                      <a:pt x="458" y="311"/>
                    </a:cubicBezTo>
                    <a:cubicBezTo>
                      <a:pt x="459" y="315"/>
                      <a:pt x="457" y="317"/>
                      <a:pt x="453" y="318"/>
                    </a:cubicBezTo>
                    <a:cubicBezTo>
                      <a:pt x="446" y="320"/>
                      <a:pt x="441" y="322"/>
                      <a:pt x="433" y="321"/>
                    </a:cubicBezTo>
                    <a:cubicBezTo>
                      <a:pt x="423" y="319"/>
                      <a:pt x="412" y="321"/>
                      <a:pt x="404" y="328"/>
                    </a:cubicBezTo>
                    <a:cubicBezTo>
                      <a:pt x="398" y="334"/>
                      <a:pt x="409" y="338"/>
                      <a:pt x="411" y="343"/>
                    </a:cubicBezTo>
                    <a:cubicBezTo>
                      <a:pt x="413" y="346"/>
                      <a:pt x="413" y="351"/>
                      <a:pt x="411" y="353"/>
                    </a:cubicBezTo>
                    <a:cubicBezTo>
                      <a:pt x="408" y="356"/>
                      <a:pt x="403" y="355"/>
                      <a:pt x="401" y="353"/>
                    </a:cubicBezTo>
                    <a:cubicBezTo>
                      <a:pt x="397" y="349"/>
                      <a:pt x="391" y="345"/>
                      <a:pt x="387" y="349"/>
                    </a:cubicBezTo>
                    <a:cubicBezTo>
                      <a:pt x="382" y="354"/>
                      <a:pt x="378" y="360"/>
                      <a:pt x="379" y="369"/>
                    </a:cubicBezTo>
                    <a:cubicBezTo>
                      <a:pt x="380" y="376"/>
                      <a:pt x="386" y="389"/>
                      <a:pt x="368" y="391"/>
                    </a:cubicBezTo>
                    <a:cubicBezTo>
                      <a:pt x="362" y="391"/>
                      <a:pt x="358" y="394"/>
                      <a:pt x="352" y="391"/>
                    </a:cubicBezTo>
                    <a:cubicBezTo>
                      <a:pt x="348" y="388"/>
                      <a:pt x="342" y="389"/>
                      <a:pt x="338" y="393"/>
                    </a:cubicBezTo>
                    <a:cubicBezTo>
                      <a:pt x="323" y="407"/>
                      <a:pt x="301" y="388"/>
                      <a:pt x="286" y="402"/>
                    </a:cubicBezTo>
                    <a:cubicBezTo>
                      <a:pt x="285" y="401"/>
                      <a:pt x="284" y="399"/>
                      <a:pt x="283" y="398"/>
                    </a:cubicBezTo>
                    <a:cubicBezTo>
                      <a:pt x="268" y="392"/>
                      <a:pt x="279" y="381"/>
                      <a:pt x="278" y="372"/>
                    </a:cubicBezTo>
                    <a:cubicBezTo>
                      <a:pt x="278" y="365"/>
                      <a:pt x="274" y="357"/>
                      <a:pt x="279" y="350"/>
                    </a:cubicBezTo>
                    <a:cubicBezTo>
                      <a:pt x="278" y="350"/>
                      <a:pt x="277" y="349"/>
                      <a:pt x="275" y="348"/>
                    </a:cubicBezTo>
                    <a:cubicBezTo>
                      <a:pt x="272" y="358"/>
                      <a:pt x="254" y="354"/>
                      <a:pt x="255" y="370"/>
                    </a:cubicBezTo>
                    <a:cubicBezTo>
                      <a:pt x="256" y="378"/>
                      <a:pt x="260" y="386"/>
                      <a:pt x="261" y="394"/>
                    </a:cubicBezTo>
                    <a:cubicBezTo>
                      <a:pt x="262" y="399"/>
                      <a:pt x="268" y="412"/>
                      <a:pt x="251" y="406"/>
                    </a:cubicBezTo>
                    <a:cubicBezTo>
                      <a:pt x="246" y="404"/>
                      <a:pt x="237" y="407"/>
                      <a:pt x="232" y="410"/>
                    </a:cubicBezTo>
                    <a:cubicBezTo>
                      <a:pt x="217" y="420"/>
                      <a:pt x="207" y="436"/>
                      <a:pt x="191" y="447"/>
                    </a:cubicBezTo>
                    <a:cubicBezTo>
                      <a:pt x="181" y="454"/>
                      <a:pt x="175" y="465"/>
                      <a:pt x="160" y="458"/>
                    </a:cubicBezTo>
                    <a:cubicBezTo>
                      <a:pt x="157" y="457"/>
                      <a:pt x="154" y="459"/>
                      <a:pt x="155" y="463"/>
                    </a:cubicBezTo>
                    <a:cubicBezTo>
                      <a:pt x="160" y="481"/>
                      <a:pt x="151" y="474"/>
                      <a:pt x="142" y="471"/>
                    </a:cubicBezTo>
                    <a:cubicBezTo>
                      <a:pt x="137" y="469"/>
                      <a:pt x="128" y="469"/>
                      <a:pt x="126" y="475"/>
                    </a:cubicBezTo>
                    <a:cubicBezTo>
                      <a:pt x="124" y="480"/>
                      <a:pt x="129" y="485"/>
                      <a:pt x="137" y="486"/>
                    </a:cubicBezTo>
                    <a:cubicBezTo>
                      <a:pt x="164" y="489"/>
                      <a:pt x="165" y="517"/>
                      <a:pt x="158" y="536"/>
                    </a:cubicBezTo>
                    <a:cubicBezTo>
                      <a:pt x="155" y="541"/>
                      <a:pt x="151" y="541"/>
                      <a:pt x="148" y="540"/>
                    </a:cubicBezTo>
                    <a:cubicBezTo>
                      <a:pt x="131" y="534"/>
                      <a:pt x="113" y="539"/>
                      <a:pt x="96" y="535"/>
                    </a:cubicBezTo>
                    <a:cubicBezTo>
                      <a:pt x="91" y="533"/>
                      <a:pt x="81" y="536"/>
                      <a:pt x="84" y="548"/>
                    </a:cubicBezTo>
                    <a:cubicBezTo>
                      <a:pt x="87" y="559"/>
                      <a:pt x="88" y="572"/>
                      <a:pt x="82" y="582"/>
                    </a:cubicBezTo>
                    <a:cubicBezTo>
                      <a:pt x="75" y="594"/>
                      <a:pt x="89" y="602"/>
                      <a:pt x="86" y="613"/>
                    </a:cubicBezTo>
                    <a:cubicBezTo>
                      <a:pt x="86" y="613"/>
                      <a:pt x="90" y="615"/>
                      <a:pt x="91" y="615"/>
                    </a:cubicBezTo>
                    <a:cubicBezTo>
                      <a:pt x="101" y="609"/>
                      <a:pt x="106" y="614"/>
                      <a:pt x="111" y="621"/>
                    </a:cubicBezTo>
                    <a:cubicBezTo>
                      <a:pt x="114" y="626"/>
                      <a:pt x="117" y="622"/>
                      <a:pt x="120" y="622"/>
                    </a:cubicBezTo>
                    <a:cubicBezTo>
                      <a:pt x="127" y="620"/>
                      <a:pt x="134" y="618"/>
                      <a:pt x="142" y="618"/>
                    </a:cubicBezTo>
                    <a:cubicBezTo>
                      <a:pt x="154" y="618"/>
                      <a:pt x="171" y="602"/>
                      <a:pt x="173" y="590"/>
                    </a:cubicBezTo>
                    <a:cubicBezTo>
                      <a:pt x="174" y="576"/>
                      <a:pt x="180" y="567"/>
                      <a:pt x="195" y="564"/>
                    </a:cubicBezTo>
                    <a:cubicBezTo>
                      <a:pt x="200" y="562"/>
                      <a:pt x="207" y="557"/>
                      <a:pt x="206" y="551"/>
                    </a:cubicBezTo>
                    <a:cubicBezTo>
                      <a:pt x="205" y="538"/>
                      <a:pt x="213" y="539"/>
                      <a:pt x="220" y="540"/>
                    </a:cubicBezTo>
                    <a:cubicBezTo>
                      <a:pt x="234" y="543"/>
                      <a:pt x="246" y="540"/>
                      <a:pt x="257" y="530"/>
                    </a:cubicBezTo>
                    <a:cubicBezTo>
                      <a:pt x="263" y="525"/>
                      <a:pt x="273" y="526"/>
                      <a:pt x="276" y="535"/>
                    </a:cubicBezTo>
                    <a:cubicBezTo>
                      <a:pt x="282" y="551"/>
                      <a:pt x="295" y="557"/>
                      <a:pt x="308" y="565"/>
                    </a:cubicBezTo>
                    <a:cubicBezTo>
                      <a:pt x="321" y="572"/>
                      <a:pt x="335" y="580"/>
                      <a:pt x="331" y="600"/>
                    </a:cubicBezTo>
                    <a:cubicBezTo>
                      <a:pt x="333" y="594"/>
                      <a:pt x="344" y="593"/>
                      <a:pt x="341" y="586"/>
                    </a:cubicBezTo>
                    <a:cubicBezTo>
                      <a:pt x="335" y="570"/>
                      <a:pt x="347" y="578"/>
                      <a:pt x="352" y="577"/>
                    </a:cubicBezTo>
                    <a:cubicBezTo>
                      <a:pt x="352" y="573"/>
                      <a:pt x="350" y="571"/>
                      <a:pt x="347" y="570"/>
                    </a:cubicBezTo>
                    <a:cubicBezTo>
                      <a:pt x="328" y="561"/>
                      <a:pt x="313" y="548"/>
                      <a:pt x="301" y="530"/>
                    </a:cubicBezTo>
                    <a:cubicBezTo>
                      <a:pt x="297" y="524"/>
                      <a:pt x="296" y="518"/>
                      <a:pt x="301" y="512"/>
                    </a:cubicBezTo>
                    <a:cubicBezTo>
                      <a:pt x="307" y="505"/>
                      <a:pt x="310" y="514"/>
                      <a:pt x="313" y="517"/>
                    </a:cubicBezTo>
                    <a:cubicBezTo>
                      <a:pt x="325" y="530"/>
                      <a:pt x="337" y="544"/>
                      <a:pt x="355" y="550"/>
                    </a:cubicBezTo>
                    <a:cubicBezTo>
                      <a:pt x="364" y="554"/>
                      <a:pt x="364" y="561"/>
                      <a:pt x="364" y="568"/>
                    </a:cubicBezTo>
                    <a:cubicBezTo>
                      <a:pt x="364" y="580"/>
                      <a:pt x="375" y="593"/>
                      <a:pt x="388" y="595"/>
                    </a:cubicBezTo>
                    <a:cubicBezTo>
                      <a:pt x="382" y="600"/>
                      <a:pt x="379" y="606"/>
                      <a:pt x="385" y="611"/>
                    </a:cubicBezTo>
                    <a:cubicBezTo>
                      <a:pt x="388" y="614"/>
                      <a:pt x="396" y="621"/>
                      <a:pt x="398" y="616"/>
                    </a:cubicBezTo>
                    <a:cubicBezTo>
                      <a:pt x="401" y="609"/>
                      <a:pt x="406" y="604"/>
                      <a:pt x="409" y="597"/>
                    </a:cubicBezTo>
                    <a:cubicBezTo>
                      <a:pt x="397" y="595"/>
                      <a:pt x="402" y="582"/>
                      <a:pt x="392" y="576"/>
                    </a:cubicBezTo>
                    <a:cubicBezTo>
                      <a:pt x="405" y="577"/>
                      <a:pt x="413" y="565"/>
                      <a:pt x="421" y="568"/>
                    </a:cubicBezTo>
                    <a:cubicBezTo>
                      <a:pt x="434" y="573"/>
                      <a:pt x="443" y="568"/>
                      <a:pt x="455" y="563"/>
                    </a:cubicBezTo>
                    <a:cubicBezTo>
                      <a:pt x="443" y="554"/>
                      <a:pt x="440" y="545"/>
                      <a:pt x="452" y="534"/>
                    </a:cubicBezTo>
                    <a:cubicBezTo>
                      <a:pt x="454" y="533"/>
                      <a:pt x="454" y="531"/>
                      <a:pt x="455" y="529"/>
                    </a:cubicBezTo>
                    <a:cubicBezTo>
                      <a:pt x="462" y="520"/>
                      <a:pt x="465" y="509"/>
                      <a:pt x="474" y="502"/>
                    </a:cubicBezTo>
                    <a:cubicBezTo>
                      <a:pt x="479" y="498"/>
                      <a:pt x="502" y="501"/>
                      <a:pt x="501" y="506"/>
                    </a:cubicBezTo>
                    <a:cubicBezTo>
                      <a:pt x="499" y="511"/>
                      <a:pt x="497" y="515"/>
                      <a:pt x="502" y="519"/>
                    </a:cubicBezTo>
                    <a:cubicBezTo>
                      <a:pt x="508" y="525"/>
                      <a:pt x="513" y="523"/>
                      <a:pt x="519" y="519"/>
                    </a:cubicBezTo>
                    <a:cubicBezTo>
                      <a:pt x="521" y="517"/>
                      <a:pt x="525" y="514"/>
                      <a:pt x="520" y="512"/>
                    </a:cubicBezTo>
                    <a:cubicBezTo>
                      <a:pt x="507" y="505"/>
                      <a:pt x="520" y="501"/>
                      <a:pt x="522" y="501"/>
                    </a:cubicBezTo>
                    <a:cubicBezTo>
                      <a:pt x="533" y="498"/>
                      <a:pt x="542" y="489"/>
                      <a:pt x="556" y="494"/>
                    </a:cubicBezTo>
                    <a:cubicBezTo>
                      <a:pt x="545" y="500"/>
                      <a:pt x="546" y="512"/>
                      <a:pt x="536" y="521"/>
                    </a:cubicBezTo>
                    <a:cubicBezTo>
                      <a:pt x="554" y="523"/>
                      <a:pt x="560" y="540"/>
                      <a:pt x="576" y="543"/>
                    </a:cubicBezTo>
                    <a:cubicBezTo>
                      <a:pt x="579" y="543"/>
                      <a:pt x="584" y="551"/>
                      <a:pt x="582" y="556"/>
                    </a:cubicBezTo>
                    <a:cubicBezTo>
                      <a:pt x="580" y="561"/>
                      <a:pt x="576" y="564"/>
                      <a:pt x="569" y="564"/>
                    </a:cubicBezTo>
                    <a:cubicBezTo>
                      <a:pt x="554" y="564"/>
                      <a:pt x="540" y="566"/>
                      <a:pt x="526" y="559"/>
                    </a:cubicBezTo>
                    <a:cubicBezTo>
                      <a:pt x="518" y="555"/>
                      <a:pt x="507" y="555"/>
                      <a:pt x="496" y="557"/>
                    </a:cubicBezTo>
                    <a:cubicBezTo>
                      <a:pt x="473" y="561"/>
                      <a:pt x="454" y="576"/>
                      <a:pt x="429" y="577"/>
                    </a:cubicBezTo>
                    <a:cubicBezTo>
                      <a:pt x="431" y="582"/>
                      <a:pt x="437" y="583"/>
                      <a:pt x="436" y="590"/>
                    </a:cubicBezTo>
                    <a:cubicBezTo>
                      <a:pt x="435" y="600"/>
                      <a:pt x="435" y="610"/>
                      <a:pt x="448" y="615"/>
                    </a:cubicBezTo>
                    <a:cubicBezTo>
                      <a:pt x="457" y="619"/>
                      <a:pt x="464" y="629"/>
                      <a:pt x="476" y="618"/>
                    </a:cubicBezTo>
                    <a:cubicBezTo>
                      <a:pt x="478" y="616"/>
                      <a:pt x="484" y="617"/>
                      <a:pt x="487" y="620"/>
                    </a:cubicBezTo>
                    <a:cubicBezTo>
                      <a:pt x="494" y="626"/>
                      <a:pt x="500" y="625"/>
                      <a:pt x="508" y="620"/>
                    </a:cubicBezTo>
                    <a:cubicBezTo>
                      <a:pt x="519" y="613"/>
                      <a:pt x="526" y="618"/>
                      <a:pt x="526" y="630"/>
                    </a:cubicBezTo>
                    <a:cubicBezTo>
                      <a:pt x="526" y="648"/>
                      <a:pt x="515" y="662"/>
                      <a:pt x="507" y="676"/>
                    </a:cubicBezTo>
                    <a:cubicBezTo>
                      <a:pt x="504" y="683"/>
                      <a:pt x="490" y="677"/>
                      <a:pt x="481" y="678"/>
                    </a:cubicBezTo>
                    <a:cubicBezTo>
                      <a:pt x="477" y="678"/>
                      <a:pt x="472" y="677"/>
                      <a:pt x="468" y="678"/>
                    </a:cubicBezTo>
                    <a:cubicBezTo>
                      <a:pt x="443" y="684"/>
                      <a:pt x="421" y="672"/>
                      <a:pt x="398" y="664"/>
                    </a:cubicBezTo>
                    <a:cubicBezTo>
                      <a:pt x="381" y="658"/>
                      <a:pt x="373" y="660"/>
                      <a:pt x="370" y="678"/>
                    </a:cubicBezTo>
                    <a:cubicBezTo>
                      <a:pt x="369" y="686"/>
                      <a:pt x="368" y="690"/>
                      <a:pt x="357" y="686"/>
                    </a:cubicBezTo>
                    <a:cubicBezTo>
                      <a:pt x="341" y="679"/>
                      <a:pt x="327" y="672"/>
                      <a:pt x="312" y="664"/>
                    </a:cubicBezTo>
                    <a:cubicBezTo>
                      <a:pt x="303" y="658"/>
                      <a:pt x="291" y="661"/>
                      <a:pt x="281" y="654"/>
                    </a:cubicBezTo>
                    <a:cubicBezTo>
                      <a:pt x="274" y="649"/>
                      <a:pt x="271" y="647"/>
                      <a:pt x="280" y="642"/>
                    </a:cubicBezTo>
                    <a:cubicBezTo>
                      <a:pt x="292" y="636"/>
                      <a:pt x="274" y="626"/>
                      <a:pt x="283" y="620"/>
                    </a:cubicBezTo>
                    <a:cubicBezTo>
                      <a:pt x="280" y="617"/>
                      <a:pt x="278" y="611"/>
                      <a:pt x="273" y="612"/>
                    </a:cubicBezTo>
                    <a:cubicBezTo>
                      <a:pt x="262" y="614"/>
                      <a:pt x="249" y="609"/>
                      <a:pt x="240" y="613"/>
                    </a:cubicBezTo>
                    <a:cubicBezTo>
                      <a:pt x="226" y="620"/>
                      <a:pt x="212" y="617"/>
                      <a:pt x="198" y="618"/>
                    </a:cubicBezTo>
                    <a:cubicBezTo>
                      <a:pt x="190" y="618"/>
                      <a:pt x="183" y="620"/>
                      <a:pt x="177" y="624"/>
                    </a:cubicBezTo>
                    <a:cubicBezTo>
                      <a:pt x="159" y="634"/>
                      <a:pt x="142" y="644"/>
                      <a:pt x="121" y="630"/>
                    </a:cubicBezTo>
                    <a:cubicBezTo>
                      <a:pt x="115" y="626"/>
                      <a:pt x="113" y="631"/>
                      <a:pt x="111" y="635"/>
                    </a:cubicBezTo>
                    <a:cubicBezTo>
                      <a:pt x="107" y="642"/>
                      <a:pt x="106" y="652"/>
                      <a:pt x="97" y="654"/>
                    </a:cubicBezTo>
                    <a:cubicBezTo>
                      <a:pt x="80" y="657"/>
                      <a:pt x="76" y="670"/>
                      <a:pt x="76" y="684"/>
                    </a:cubicBezTo>
                    <a:cubicBezTo>
                      <a:pt x="76" y="691"/>
                      <a:pt x="73" y="696"/>
                      <a:pt x="69" y="700"/>
                    </a:cubicBezTo>
                    <a:cubicBezTo>
                      <a:pt x="62" y="710"/>
                      <a:pt x="48" y="713"/>
                      <a:pt x="40" y="722"/>
                    </a:cubicBezTo>
                    <a:cubicBezTo>
                      <a:pt x="28" y="735"/>
                      <a:pt x="21" y="751"/>
                      <a:pt x="13" y="767"/>
                    </a:cubicBezTo>
                    <a:cubicBezTo>
                      <a:pt x="6" y="778"/>
                      <a:pt x="0" y="787"/>
                      <a:pt x="9" y="802"/>
                    </a:cubicBezTo>
                    <a:cubicBezTo>
                      <a:pt x="13" y="808"/>
                      <a:pt x="14" y="821"/>
                      <a:pt x="9" y="833"/>
                    </a:cubicBezTo>
                    <a:cubicBezTo>
                      <a:pt x="1" y="852"/>
                      <a:pt x="1" y="872"/>
                      <a:pt x="18" y="888"/>
                    </a:cubicBezTo>
                    <a:cubicBezTo>
                      <a:pt x="31" y="900"/>
                      <a:pt x="36" y="919"/>
                      <a:pt x="49" y="929"/>
                    </a:cubicBezTo>
                    <a:cubicBezTo>
                      <a:pt x="70" y="944"/>
                      <a:pt x="89" y="964"/>
                      <a:pt x="123" y="956"/>
                    </a:cubicBezTo>
                    <a:cubicBezTo>
                      <a:pt x="147" y="950"/>
                      <a:pt x="173" y="950"/>
                      <a:pt x="197" y="939"/>
                    </a:cubicBezTo>
                    <a:cubicBezTo>
                      <a:pt x="207" y="935"/>
                      <a:pt x="221" y="939"/>
                      <a:pt x="226" y="947"/>
                    </a:cubicBezTo>
                    <a:cubicBezTo>
                      <a:pt x="234" y="962"/>
                      <a:pt x="243" y="964"/>
                      <a:pt x="255" y="956"/>
                    </a:cubicBezTo>
                    <a:cubicBezTo>
                      <a:pt x="258" y="955"/>
                      <a:pt x="259" y="956"/>
                      <a:pt x="260" y="957"/>
                    </a:cubicBezTo>
                    <a:cubicBezTo>
                      <a:pt x="272" y="965"/>
                      <a:pt x="278" y="974"/>
                      <a:pt x="271" y="989"/>
                    </a:cubicBezTo>
                    <a:cubicBezTo>
                      <a:pt x="261" y="1008"/>
                      <a:pt x="263" y="1026"/>
                      <a:pt x="280" y="1039"/>
                    </a:cubicBezTo>
                    <a:cubicBezTo>
                      <a:pt x="297" y="1053"/>
                      <a:pt x="300" y="1074"/>
                      <a:pt x="306" y="1093"/>
                    </a:cubicBezTo>
                    <a:cubicBezTo>
                      <a:pt x="308" y="1103"/>
                      <a:pt x="314" y="1115"/>
                      <a:pt x="309" y="1124"/>
                    </a:cubicBezTo>
                    <a:cubicBezTo>
                      <a:pt x="304" y="1135"/>
                      <a:pt x="301" y="1146"/>
                      <a:pt x="296" y="1156"/>
                    </a:cubicBezTo>
                    <a:cubicBezTo>
                      <a:pt x="289" y="1173"/>
                      <a:pt x="293" y="1185"/>
                      <a:pt x="300" y="1200"/>
                    </a:cubicBezTo>
                    <a:cubicBezTo>
                      <a:pt x="306" y="1216"/>
                      <a:pt x="316" y="1230"/>
                      <a:pt x="317" y="1250"/>
                    </a:cubicBezTo>
                    <a:cubicBezTo>
                      <a:pt x="317" y="1265"/>
                      <a:pt x="320" y="1282"/>
                      <a:pt x="329" y="1296"/>
                    </a:cubicBezTo>
                    <a:cubicBezTo>
                      <a:pt x="340" y="1312"/>
                      <a:pt x="350" y="1329"/>
                      <a:pt x="349" y="1350"/>
                    </a:cubicBezTo>
                    <a:cubicBezTo>
                      <a:pt x="349" y="1360"/>
                      <a:pt x="364" y="1371"/>
                      <a:pt x="368" y="1367"/>
                    </a:cubicBezTo>
                    <a:cubicBezTo>
                      <a:pt x="377" y="1359"/>
                      <a:pt x="388" y="1359"/>
                      <a:pt x="397" y="1359"/>
                    </a:cubicBezTo>
                    <a:cubicBezTo>
                      <a:pt x="425" y="1359"/>
                      <a:pt x="448" y="1349"/>
                      <a:pt x="463" y="1326"/>
                    </a:cubicBezTo>
                    <a:cubicBezTo>
                      <a:pt x="473" y="1310"/>
                      <a:pt x="493" y="1299"/>
                      <a:pt x="491" y="1278"/>
                    </a:cubicBezTo>
                    <a:cubicBezTo>
                      <a:pt x="490" y="1267"/>
                      <a:pt x="494" y="1262"/>
                      <a:pt x="501" y="1260"/>
                    </a:cubicBezTo>
                    <a:cubicBezTo>
                      <a:pt x="519" y="1256"/>
                      <a:pt x="518" y="1244"/>
                      <a:pt x="517" y="1231"/>
                    </a:cubicBezTo>
                    <a:cubicBezTo>
                      <a:pt x="516" y="1225"/>
                      <a:pt x="515" y="1220"/>
                      <a:pt x="513" y="1215"/>
                    </a:cubicBezTo>
                    <a:cubicBezTo>
                      <a:pt x="509" y="1209"/>
                      <a:pt x="512" y="1203"/>
                      <a:pt x="516" y="1201"/>
                    </a:cubicBezTo>
                    <a:cubicBezTo>
                      <a:pt x="528" y="1193"/>
                      <a:pt x="537" y="1180"/>
                      <a:pt x="552" y="1175"/>
                    </a:cubicBezTo>
                    <a:cubicBezTo>
                      <a:pt x="563" y="1172"/>
                      <a:pt x="569" y="1163"/>
                      <a:pt x="570" y="1149"/>
                    </a:cubicBezTo>
                    <a:cubicBezTo>
                      <a:pt x="572" y="1122"/>
                      <a:pt x="557" y="1097"/>
                      <a:pt x="555" y="1071"/>
                    </a:cubicBezTo>
                    <a:cubicBezTo>
                      <a:pt x="554" y="1054"/>
                      <a:pt x="558" y="1039"/>
                      <a:pt x="569" y="1029"/>
                    </a:cubicBezTo>
                    <a:cubicBezTo>
                      <a:pt x="587" y="1012"/>
                      <a:pt x="602" y="992"/>
                      <a:pt x="623" y="979"/>
                    </a:cubicBezTo>
                    <a:cubicBezTo>
                      <a:pt x="646" y="964"/>
                      <a:pt x="655" y="939"/>
                      <a:pt x="668" y="918"/>
                    </a:cubicBezTo>
                    <a:cubicBezTo>
                      <a:pt x="673" y="908"/>
                      <a:pt x="680" y="896"/>
                      <a:pt x="674" y="882"/>
                    </a:cubicBezTo>
                    <a:cubicBezTo>
                      <a:pt x="667" y="887"/>
                      <a:pt x="659" y="888"/>
                      <a:pt x="650" y="889"/>
                    </a:cubicBezTo>
                    <a:cubicBezTo>
                      <a:pt x="640" y="889"/>
                      <a:pt x="629" y="892"/>
                      <a:pt x="619" y="896"/>
                    </a:cubicBezTo>
                    <a:cubicBezTo>
                      <a:pt x="614" y="898"/>
                      <a:pt x="606" y="903"/>
                      <a:pt x="605" y="898"/>
                    </a:cubicBezTo>
                    <a:cubicBezTo>
                      <a:pt x="604" y="891"/>
                      <a:pt x="587" y="891"/>
                      <a:pt x="598" y="880"/>
                    </a:cubicBezTo>
                    <a:cubicBezTo>
                      <a:pt x="599" y="878"/>
                      <a:pt x="596" y="876"/>
                      <a:pt x="595" y="874"/>
                    </a:cubicBezTo>
                    <a:cubicBezTo>
                      <a:pt x="586" y="865"/>
                      <a:pt x="581" y="854"/>
                      <a:pt x="567" y="851"/>
                    </a:cubicBezTo>
                    <a:cubicBezTo>
                      <a:pt x="561" y="850"/>
                      <a:pt x="558" y="842"/>
                      <a:pt x="556" y="836"/>
                    </a:cubicBezTo>
                    <a:cubicBezTo>
                      <a:pt x="549" y="817"/>
                      <a:pt x="535" y="801"/>
                      <a:pt x="533" y="779"/>
                    </a:cubicBezTo>
                    <a:cubicBezTo>
                      <a:pt x="533" y="779"/>
                      <a:pt x="533" y="779"/>
                      <a:pt x="532" y="778"/>
                    </a:cubicBezTo>
                    <a:cubicBezTo>
                      <a:pt x="520" y="764"/>
                      <a:pt x="515" y="746"/>
                      <a:pt x="507" y="730"/>
                    </a:cubicBezTo>
                    <a:cubicBezTo>
                      <a:pt x="500" y="718"/>
                      <a:pt x="501" y="717"/>
                      <a:pt x="512" y="711"/>
                    </a:cubicBezTo>
                    <a:cubicBezTo>
                      <a:pt x="527" y="729"/>
                      <a:pt x="538" y="749"/>
                      <a:pt x="552" y="767"/>
                    </a:cubicBezTo>
                    <a:cubicBezTo>
                      <a:pt x="559" y="776"/>
                      <a:pt x="554" y="788"/>
                      <a:pt x="562" y="795"/>
                    </a:cubicBezTo>
                    <a:cubicBezTo>
                      <a:pt x="584" y="814"/>
                      <a:pt x="592" y="840"/>
                      <a:pt x="598" y="867"/>
                    </a:cubicBezTo>
                    <a:cubicBezTo>
                      <a:pt x="600" y="877"/>
                      <a:pt x="605" y="877"/>
                      <a:pt x="612" y="874"/>
                    </a:cubicBezTo>
                    <a:cubicBezTo>
                      <a:pt x="640" y="863"/>
                      <a:pt x="672" y="857"/>
                      <a:pt x="696" y="836"/>
                    </a:cubicBezTo>
                    <a:cubicBezTo>
                      <a:pt x="699" y="834"/>
                      <a:pt x="702" y="834"/>
                      <a:pt x="705" y="834"/>
                    </a:cubicBezTo>
                    <a:cubicBezTo>
                      <a:pt x="720" y="832"/>
                      <a:pt x="733" y="822"/>
                      <a:pt x="739" y="812"/>
                    </a:cubicBezTo>
                    <a:cubicBezTo>
                      <a:pt x="744" y="803"/>
                      <a:pt x="752" y="797"/>
                      <a:pt x="757" y="789"/>
                    </a:cubicBezTo>
                    <a:cubicBezTo>
                      <a:pt x="765" y="777"/>
                      <a:pt x="765" y="767"/>
                      <a:pt x="754" y="764"/>
                    </a:cubicBezTo>
                    <a:cubicBezTo>
                      <a:pt x="738" y="760"/>
                      <a:pt x="732" y="750"/>
                      <a:pt x="728" y="732"/>
                    </a:cubicBezTo>
                    <a:cubicBezTo>
                      <a:pt x="722" y="739"/>
                      <a:pt x="718" y="743"/>
                      <a:pt x="716" y="748"/>
                    </a:cubicBezTo>
                    <a:cubicBezTo>
                      <a:pt x="709" y="762"/>
                      <a:pt x="695" y="755"/>
                      <a:pt x="684" y="757"/>
                    </a:cubicBezTo>
                    <a:cubicBezTo>
                      <a:pt x="679" y="759"/>
                      <a:pt x="684" y="745"/>
                      <a:pt x="681" y="739"/>
                    </a:cubicBezTo>
                    <a:cubicBezTo>
                      <a:pt x="681" y="739"/>
                      <a:pt x="681" y="739"/>
                      <a:pt x="680" y="738"/>
                    </a:cubicBezTo>
                    <a:cubicBezTo>
                      <a:pt x="675" y="733"/>
                      <a:pt x="672" y="750"/>
                      <a:pt x="669" y="741"/>
                    </a:cubicBezTo>
                    <a:cubicBezTo>
                      <a:pt x="665" y="727"/>
                      <a:pt x="653" y="718"/>
                      <a:pt x="649" y="705"/>
                    </a:cubicBezTo>
                    <a:cubicBezTo>
                      <a:pt x="648" y="701"/>
                      <a:pt x="645" y="698"/>
                      <a:pt x="651" y="695"/>
                    </a:cubicBezTo>
                    <a:cubicBezTo>
                      <a:pt x="657" y="692"/>
                      <a:pt x="662" y="688"/>
                      <a:pt x="667" y="694"/>
                    </a:cubicBezTo>
                    <a:cubicBezTo>
                      <a:pt x="670" y="697"/>
                      <a:pt x="674" y="701"/>
                      <a:pt x="676" y="707"/>
                    </a:cubicBezTo>
                    <a:cubicBezTo>
                      <a:pt x="681" y="721"/>
                      <a:pt x="709" y="733"/>
                      <a:pt x="724" y="727"/>
                    </a:cubicBezTo>
                    <a:cubicBezTo>
                      <a:pt x="731" y="725"/>
                      <a:pt x="735" y="725"/>
                      <a:pt x="738" y="733"/>
                    </a:cubicBezTo>
                    <a:cubicBezTo>
                      <a:pt x="740" y="738"/>
                      <a:pt x="743" y="744"/>
                      <a:pt x="750" y="744"/>
                    </a:cubicBezTo>
                    <a:cubicBezTo>
                      <a:pt x="766" y="743"/>
                      <a:pt x="782" y="747"/>
                      <a:pt x="798" y="745"/>
                    </a:cubicBezTo>
                    <a:cubicBezTo>
                      <a:pt x="808" y="743"/>
                      <a:pt x="821" y="740"/>
                      <a:pt x="829" y="745"/>
                    </a:cubicBezTo>
                    <a:cubicBezTo>
                      <a:pt x="842" y="752"/>
                      <a:pt x="851" y="765"/>
                      <a:pt x="862" y="775"/>
                    </a:cubicBezTo>
                    <a:cubicBezTo>
                      <a:pt x="862" y="775"/>
                      <a:pt x="862" y="776"/>
                      <a:pt x="862" y="776"/>
                    </a:cubicBezTo>
                    <a:cubicBezTo>
                      <a:pt x="863" y="791"/>
                      <a:pt x="876" y="798"/>
                      <a:pt x="888" y="791"/>
                    </a:cubicBezTo>
                    <a:cubicBezTo>
                      <a:pt x="890" y="789"/>
                      <a:pt x="890" y="784"/>
                      <a:pt x="894" y="787"/>
                    </a:cubicBezTo>
                    <a:cubicBezTo>
                      <a:pt x="898" y="789"/>
                      <a:pt x="899" y="793"/>
                      <a:pt x="897" y="796"/>
                    </a:cubicBezTo>
                    <a:cubicBezTo>
                      <a:pt x="896" y="799"/>
                      <a:pt x="895" y="802"/>
                      <a:pt x="895" y="805"/>
                    </a:cubicBezTo>
                    <a:cubicBezTo>
                      <a:pt x="903" y="845"/>
                      <a:pt x="919" y="883"/>
                      <a:pt x="936" y="920"/>
                    </a:cubicBezTo>
                    <a:cubicBezTo>
                      <a:pt x="938" y="924"/>
                      <a:pt x="941" y="927"/>
                      <a:pt x="945" y="923"/>
                    </a:cubicBezTo>
                    <a:cubicBezTo>
                      <a:pt x="961" y="909"/>
                      <a:pt x="970" y="890"/>
                      <a:pt x="969" y="869"/>
                    </a:cubicBezTo>
                    <a:cubicBezTo>
                      <a:pt x="969" y="856"/>
                      <a:pt x="972" y="847"/>
                      <a:pt x="983" y="840"/>
                    </a:cubicBezTo>
                    <a:cubicBezTo>
                      <a:pt x="989" y="835"/>
                      <a:pt x="994" y="828"/>
                      <a:pt x="1000" y="824"/>
                    </a:cubicBezTo>
                    <a:cubicBezTo>
                      <a:pt x="1021" y="812"/>
                      <a:pt x="1032" y="786"/>
                      <a:pt x="1059" y="780"/>
                    </a:cubicBezTo>
                    <a:cubicBezTo>
                      <a:pt x="1073" y="776"/>
                      <a:pt x="1079" y="775"/>
                      <a:pt x="1082" y="791"/>
                    </a:cubicBezTo>
                    <a:cubicBezTo>
                      <a:pt x="1082" y="795"/>
                      <a:pt x="1086" y="799"/>
                      <a:pt x="1089" y="801"/>
                    </a:cubicBezTo>
                    <a:cubicBezTo>
                      <a:pt x="1100" y="809"/>
                      <a:pt x="1103" y="820"/>
                      <a:pt x="1102" y="832"/>
                    </a:cubicBezTo>
                    <a:cubicBezTo>
                      <a:pt x="1102" y="836"/>
                      <a:pt x="1099" y="839"/>
                      <a:pt x="1105" y="842"/>
                    </a:cubicBezTo>
                    <a:cubicBezTo>
                      <a:pt x="1110" y="844"/>
                      <a:pt x="1113" y="843"/>
                      <a:pt x="1116" y="839"/>
                    </a:cubicBezTo>
                    <a:cubicBezTo>
                      <a:pt x="1119" y="836"/>
                      <a:pt x="1122" y="832"/>
                      <a:pt x="1126" y="835"/>
                    </a:cubicBezTo>
                    <a:cubicBezTo>
                      <a:pt x="1130" y="837"/>
                      <a:pt x="1132" y="841"/>
                      <a:pt x="1132" y="846"/>
                    </a:cubicBezTo>
                    <a:cubicBezTo>
                      <a:pt x="1132" y="852"/>
                      <a:pt x="1131" y="859"/>
                      <a:pt x="1135" y="865"/>
                    </a:cubicBezTo>
                    <a:cubicBezTo>
                      <a:pt x="1141" y="877"/>
                      <a:pt x="1142" y="889"/>
                      <a:pt x="1139" y="902"/>
                    </a:cubicBezTo>
                    <a:cubicBezTo>
                      <a:pt x="1137" y="913"/>
                      <a:pt x="1136" y="923"/>
                      <a:pt x="1148" y="930"/>
                    </a:cubicBezTo>
                    <a:cubicBezTo>
                      <a:pt x="1153" y="934"/>
                      <a:pt x="1155" y="940"/>
                      <a:pt x="1157" y="947"/>
                    </a:cubicBezTo>
                    <a:cubicBezTo>
                      <a:pt x="1160" y="962"/>
                      <a:pt x="1164" y="978"/>
                      <a:pt x="1181" y="985"/>
                    </a:cubicBezTo>
                    <a:cubicBezTo>
                      <a:pt x="1185" y="987"/>
                      <a:pt x="1189" y="993"/>
                      <a:pt x="1194" y="989"/>
                    </a:cubicBezTo>
                    <a:cubicBezTo>
                      <a:pt x="1198" y="984"/>
                      <a:pt x="1192" y="981"/>
                      <a:pt x="1190" y="977"/>
                    </a:cubicBezTo>
                    <a:cubicBezTo>
                      <a:pt x="1189" y="976"/>
                      <a:pt x="1189" y="973"/>
                      <a:pt x="1189" y="971"/>
                    </a:cubicBezTo>
                    <a:cubicBezTo>
                      <a:pt x="1192" y="953"/>
                      <a:pt x="1179" y="945"/>
                      <a:pt x="1166" y="936"/>
                    </a:cubicBezTo>
                    <a:cubicBezTo>
                      <a:pt x="1156" y="928"/>
                      <a:pt x="1149" y="915"/>
                      <a:pt x="1148" y="903"/>
                    </a:cubicBezTo>
                    <a:cubicBezTo>
                      <a:pt x="1147" y="892"/>
                      <a:pt x="1154" y="881"/>
                      <a:pt x="1158" y="869"/>
                    </a:cubicBezTo>
                    <a:cubicBezTo>
                      <a:pt x="1177" y="881"/>
                      <a:pt x="1195" y="893"/>
                      <a:pt x="1203" y="914"/>
                    </a:cubicBezTo>
                    <a:cubicBezTo>
                      <a:pt x="1205" y="918"/>
                      <a:pt x="1209" y="916"/>
                      <a:pt x="1210" y="913"/>
                    </a:cubicBezTo>
                    <a:cubicBezTo>
                      <a:pt x="1218" y="904"/>
                      <a:pt x="1229" y="900"/>
                      <a:pt x="1239" y="894"/>
                    </a:cubicBezTo>
                    <a:cubicBezTo>
                      <a:pt x="1242" y="893"/>
                      <a:pt x="1245" y="892"/>
                      <a:pt x="1246" y="889"/>
                    </a:cubicBezTo>
                    <a:cubicBezTo>
                      <a:pt x="1251" y="873"/>
                      <a:pt x="1244" y="850"/>
                      <a:pt x="1230" y="838"/>
                    </a:cubicBezTo>
                    <a:cubicBezTo>
                      <a:pt x="1208" y="820"/>
                      <a:pt x="1209" y="803"/>
                      <a:pt x="1231" y="789"/>
                    </a:cubicBezTo>
                    <a:cubicBezTo>
                      <a:pt x="1238" y="784"/>
                      <a:pt x="1250" y="784"/>
                      <a:pt x="1251" y="788"/>
                    </a:cubicBezTo>
                    <a:cubicBezTo>
                      <a:pt x="1254" y="802"/>
                      <a:pt x="1259" y="791"/>
                      <a:pt x="1263" y="790"/>
                    </a:cubicBezTo>
                    <a:cubicBezTo>
                      <a:pt x="1277" y="784"/>
                      <a:pt x="1289" y="775"/>
                      <a:pt x="1306" y="773"/>
                    </a:cubicBezTo>
                    <a:cubicBezTo>
                      <a:pt x="1326" y="772"/>
                      <a:pt x="1340" y="756"/>
                      <a:pt x="1350" y="741"/>
                    </a:cubicBezTo>
                    <a:cubicBezTo>
                      <a:pt x="1356" y="732"/>
                      <a:pt x="1361" y="722"/>
                      <a:pt x="1368" y="714"/>
                    </a:cubicBezTo>
                    <a:cubicBezTo>
                      <a:pt x="1374" y="709"/>
                      <a:pt x="1373" y="702"/>
                      <a:pt x="1373" y="696"/>
                    </a:cubicBezTo>
                    <a:cubicBezTo>
                      <a:pt x="1373" y="693"/>
                      <a:pt x="1367" y="694"/>
                      <a:pt x="1369" y="690"/>
                    </a:cubicBezTo>
                    <a:cubicBezTo>
                      <a:pt x="1374" y="682"/>
                      <a:pt x="1370" y="674"/>
                      <a:pt x="1368" y="667"/>
                    </a:cubicBezTo>
                    <a:cubicBezTo>
                      <a:pt x="1365" y="659"/>
                      <a:pt x="1360" y="649"/>
                      <a:pt x="1352" y="643"/>
                    </a:cubicBezTo>
                    <a:cubicBezTo>
                      <a:pt x="1346" y="639"/>
                      <a:pt x="1349" y="638"/>
                      <a:pt x="1352" y="634"/>
                    </a:cubicBezTo>
                    <a:cubicBezTo>
                      <a:pt x="1360" y="625"/>
                      <a:pt x="1370" y="619"/>
                      <a:pt x="1381" y="614"/>
                    </a:cubicBezTo>
                    <a:cubicBezTo>
                      <a:pt x="1372" y="617"/>
                      <a:pt x="1367" y="602"/>
                      <a:pt x="1358" y="610"/>
                    </a:cubicBezTo>
                    <a:cubicBezTo>
                      <a:pt x="1352" y="615"/>
                      <a:pt x="1348" y="616"/>
                      <a:pt x="1345" y="607"/>
                    </a:cubicBezTo>
                    <a:cubicBezTo>
                      <a:pt x="1343" y="601"/>
                      <a:pt x="1333" y="605"/>
                      <a:pt x="1331" y="598"/>
                    </a:cubicBezTo>
                    <a:cubicBezTo>
                      <a:pt x="1330" y="596"/>
                      <a:pt x="1331" y="595"/>
                      <a:pt x="1333" y="594"/>
                    </a:cubicBezTo>
                    <a:cubicBezTo>
                      <a:pt x="1348" y="592"/>
                      <a:pt x="1357" y="580"/>
                      <a:pt x="1369" y="573"/>
                    </a:cubicBezTo>
                    <a:cubicBezTo>
                      <a:pt x="1372" y="570"/>
                      <a:pt x="1374" y="570"/>
                      <a:pt x="1376" y="573"/>
                    </a:cubicBezTo>
                    <a:cubicBezTo>
                      <a:pt x="1378" y="575"/>
                      <a:pt x="1378" y="577"/>
                      <a:pt x="1376" y="579"/>
                    </a:cubicBezTo>
                    <a:cubicBezTo>
                      <a:pt x="1372" y="583"/>
                      <a:pt x="1364" y="587"/>
                      <a:pt x="1371" y="593"/>
                    </a:cubicBezTo>
                    <a:cubicBezTo>
                      <a:pt x="1377" y="598"/>
                      <a:pt x="1381" y="589"/>
                      <a:pt x="1386" y="587"/>
                    </a:cubicBezTo>
                    <a:cubicBezTo>
                      <a:pt x="1388" y="587"/>
                      <a:pt x="1391" y="585"/>
                      <a:pt x="1392" y="584"/>
                    </a:cubicBezTo>
                    <a:cubicBezTo>
                      <a:pt x="1397" y="581"/>
                      <a:pt x="1400" y="582"/>
                      <a:pt x="1404" y="586"/>
                    </a:cubicBezTo>
                    <a:cubicBezTo>
                      <a:pt x="1408" y="589"/>
                      <a:pt x="1409" y="592"/>
                      <a:pt x="1406" y="597"/>
                    </a:cubicBezTo>
                    <a:cubicBezTo>
                      <a:pt x="1400" y="605"/>
                      <a:pt x="1404" y="607"/>
                      <a:pt x="1413" y="607"/>
                    </a:cubicBezTo>
                    <a:cubicBezTo>
                      <a:pt x="1420" y="606"/>
                      <a:pt x="1426" y="613"/>
                      <a:pt x="1424" y="618"/>
                    </a:cubicBezTo>
                    <a:cubicBezTo>
                      <a:pt x="1420" y="625"/>
                      <a:pt x="1420" y="633"/>
                      <a:pt x="1420" y="642"/>
                    </a:cubicBezTo>
                    <a:cubicBezTo>
                      <a:pt x="1420" y="644"/>
                      <a:pt x="1421" y="647"/>
                      <a:pt x="1425" y="647"/>
                    </a:cubicBezTo>
                    <a:cubicBezTo>
                      <a:pt x="1450" y="642"/>
                      <a:pt x="1458" y="621"/>
                      <a:pt x="1443" y="601"/>
                    </a:cubicBezTo>
                    <a:cubicBezTo>
                      <a:pt x="1440" y="598"/>
                      <a:pt x="1437" y="595"/>
                      <a:pt x="1435" y="592"/>
                    </a:cubicBezTo>
                    <a:cubicBezTo>
                      <a:pt x="1431" y="588"/>
                      <a:pt x="1429" y="585"/>
                      <a:pt x="1437" y="582"/>
                    </a:cubicBezTo>
                    <a:cubicBezTo>
                      <a:pt x="1446" y="578"/>
                      <a:pt x="1452" y="571"/>
                      <a:pt x="1456" y="561"/>
                    </a:cubicBezTo>
                    <a:cubicBezTo>
                      <a:pt x="1460" y="550"/>
                      <a:pt x="1470" y="543"/>
                      <a:pt x="1483" y="546"/>
                    </a:cubicBezTo>
                    <a:cubicBezTo>
                      <a:pt x="1490" y="548"/>
                      <a:pt x="1495" y="546"/>
                      <a:pt x="1501" y="543"/>
                    </a:cubicBezTo>
                    <a:cubicBezTo>
                      <a:pt x="1524" y="528"/>
                      <a:pt x="1536" y="504"/>
                      <a:pt x="1552" y="483"/>
                    </a:cubicBezTo>
                    <a:cubicBezTo>
                      <a:pt x="1565" y="466"/>
                      <a:pt x="1563" y="444"/>
                      <a:pt x="1569" y="425"/>
                    </a:cubicBezTo>
                    <a:cubicBezTo>
                      <a:pt x="1574" y="410"/>
                      <a:pt x="1557" y="396"/>
                      <a:pt x="1545" y="404"/>
                    </a:cubicBezTo>
                    <a:cubicBezTo>
                      <a:pt x="1536" y="410"/>
                      <a:pt x="1530" y="405"/>
                      <a:pt x="1527" y="402"/>
                    </a:cubicBezTo>
                    <a:cubicBezTo>
                      <a:pt x="1522" y="397"/>
                      <a:pt x="1515" y="397"/>
                      <a:pt x="1510" y="392"/>
                    </a:cubicBezTo>
                    <a:cubicBezTo>
                      <a:pt x="1533" y="373"/>
                      <a:pt x="1556" y="353"/>
                      <a:pt x="1579" y="334"/>
                    </a:cubicBezTo>
                    <a:cubicBezTo>
                      <a:pt x="1587" y="328"/>
                      <a:pt x="1597" y="320"/>
                      <a:pt x="1607" y="325"/>
                    </a:cubicBezTo>
                    <a:cubicBezTo>
                      <a:pt x="1622" y="332"/>
                      <a:pt x="1634" y="330"/>
                      <a:pt x="1649" y="326"/>
                    </a:cubicBezTo>
                    <a:cubicBezTo>
                      <a:pt x="1658" y="323"/>
                      <a:pt x="1669" y="317"/>
                      <a:pt x="1677" y="332"/>
                    </a:cubicBezTo>
                    <a:cubicBezTo>
                      <a:pt x="1683" y="343"/>
                      <a:pt x="1692" y="326"/>
                      <a:pt x="1700" y="330"/>
                    </a:cubicBezTo>
                    <a:cubicBezTo>
                      <a:pt x="1702" y="331"/>
                      <a:pt x="1703" y="329"/>
                      <a:pt x="1703" y="326"/>
                    </a:cubicBezTo>
                    <a:cubicBezTo>
                      <a:pt x="1705" y="310"/>
                      <a:pt x="1736" y="287"/>
                      <a:pt x="1752" y="289"/>
                    </a:cubicBezTo>
                    <a:cubicBezTo>
                      <a:pt x="1751" y="294"/>
                      <a:pt x="1769" y="283"/>
                      <a:pt x="1758" y="296"/>
                    </a:cubicBezTo>
                    <a:cubicBezTo>
                      <a:pt x="1756" y="300"/>
                      <a:pt x="1760" y="301"/>
                      <a:pt x="1762" y="304"/>
                    </a:cubicBezTo>
                    <a:cubicBezTo>
                      <a:pt x="1764" y="307"/>
                      <a:pt x="1767" y="306"/>
                      <a:pt x="1769" y="304"/>
                    </a:cubicBezTo>
                    <a:cubicBezTo>
                      <a:pt x="1776" y="295"/>
                      <a:pt x="1790" y="296"/>
                      <a:pt x="1793" y="282"/>
                    </a:cubicBezTo>
                    <a:cubicBezTo>
                      <a:pt x="1795" y="274"/>
                      <a:pt x="1803" y="273"/>
                      <a:pt x="1809" y="280"/>
                    </a:cubicBezTo>
                    <a:cubicBezTo>
                      <a:pt x="1807" y="284"/>
                      <a:pt x="1801" y="280"/>
                      <a:pt x="1801" y="284"/>
                    </a:cubicBezTo>
                    <a:cubicBezTo>
                      <a:pt x="1800" y="299"/>
                      <a:pt x="1790" y="304"/>
                      <a:pt x="1780" y="311"/>
                    </a:cubicBezTo>
                    <a:cubicBezTo>
                      <a:pt x="1762" y="323"/>
                      <a:pt x="1752" y="344"/>
                      <a:pt x="1730" y="350"/>
                    </a:cubicBezTo>
                    <a:cubicBezTo>
                      <a:pt x="1729" y="350"/>
                      <a:pt x="1727" y="351"/>
                      <a:pt x="1727" y="353"/>
                    </a:cubicBezTo>
                    <a:cubicBezTo>
                      <a:pt x="1720" y="370"/>
                      <a:pt x="1709" y="386"/>
                      <a:pt x="1716" y="406"/>
                    </a:cubicBezTo>
                    <a:cubicBezTo>
                      <a:pt x="1718" y="414"/>
                      <a:pt x="1721" y="423"/>
                      <a:pt x="1723" y="431"/>
                    </a:cubicBezTo>
                    <a:cubicBezTo>
                      <a:pt x="1724" y="436"/>
                      <a:pt x="1723" y="443"/>
                      <a:pt x="1727" y="443"/>
                    </a:cubicBezTo>
                    <a:cubicBezTo>
                      <a:pt x="1732" y="443"/>
                      <a:pt x="1738" y="439"/>
                      <a:pt x="1739" y="433"/>
                    </a:cubicBezTo>
                    <a:cubicBezTo>
                      <a:pt x="1742" y="421"/>
                      <a:pt x="1752" y="413"/>
                      <a:pt x="1759" y="404"/>
                    </a:cubicBezTo>
                    <a:cubicBezTo>
                      <a:pt x="1767" y="395"/>
                      <a:pt x="1780" y="389"/>
                      <a:pt x="1783" y="375"/>
                    </a:cubicBezTo>
                    <a:cubicBezTo>
                      <a:pt x="1783" y="371"/>
                      <a:pt x="1789" y="373"/>
                      <a:pt x="1791" y="370"/>
                    </a:cubicBezTo>
                    <a:cubicBezTo>
                      <a:pt x="1780" y="366"/>
                      <a:pt x="1796" y="350"/>
                      <a:pt x="1780" y="348"/>
                    </a:cubicBezTo>
                    <a:cubicBezTo>
                      <a:pt x="1779" y="348"/>
                      <a:pt x="1778" y="346"/>
                      <a:pt x="1778" y="344"/>
                    </a:cubicBezTo>
                    <a:cubicBezTo>
                      <a:pt x="1778" y="341"/>
                      <a:pt x="1798" y="318"/>
                      <a:pt x="1801" y="318"/>
                    </a:cubicBezTo>
                    <a:cubicBezTo>
                      <a:pt x="1810" y="319"/>
                      <a:pt x="1818" y="306"/>
                      <a:pt x="1826" y="317"/>
                    </a:cubicBezTo>
                    <a:cubicBezTo>
                      <a:pt x="1831" y="308"/>
                      <a:pt x="1844" y="309"/>
                      <a:pt x="1847" y="311"/>
                    </a:cubicBezTo>
                    <a:cubicBezTo>
                      <a:pt x="1865" y="322"/>
                      <a:pt x="1874" y="306"/>
                      <a:pt x="1886" y="300"/>
                    </a:cubicBezTo>
                    <a:cubicBezTo>
                      <a:pt x="1891" y="298"/>
                      <a:pt x="1895" y="294"/>
                      <a:pt x="1900" y="293"/>
                    </a:cubicBezTo>
                    <a:cubicBezTo>
                      <a:pt x="1916" y="289"/>
                      <a:pt x="1927" y="274"/>
                      <a:pt x="1946" y="281"/>
                    </a:cubicBezTo>
                    <a:cubicBezTo>
                      <a:pt x="1956" y="285"/>
                      <a:pt x="1954" y="276"/>
                      <a:pt x="1953" y="270"/>
                    </a:cubicBezTo>
                    <a:cubicBezTo>
                      <a:pt x="1949" y="255"/>
                      <a:pt x="1936" y="249"/>
                      <a:pt x="1923" y="242"/>
                    </a:cubicBezTo>
                    <a:cubicBezTo>
                      <a:pt x="1929" y="240"/>
                      <a:pt x="1932" y="240"/>
                      <a:pt x="1937" y="244"/>
                    </a:cubicBezTo>
                    <a:cubicBezTo>
                      <a:pt x="1948" y="252"/>
                      <a:pt x="1966" y="241"/>
                      <a:pt x="1964" y="228"/>
                    </a:cubicBezTo>
                    <a:cubicBezTo>
                      <a:pt x="1963" y="222"/>
                      <a:pt x="1966" y="220"/>
                      <a:pt x="1970" y="220"/>
                    </a:cubicBezTo>
                    <a:cubicBezTo>
                      <a:pt x="1976" y="218"/>
                      <a:pt x="1972" y="223"/>
                      <a:pt x="1973" y="225"/>
                    </a:cubicBezTo>
                    <a:cubicBezTo>
                      <a:pt x="1974" y="230"/>
                      <a:pt x="1977" y="234"/>
                      <a:pt x="1983" y="232"/>
                    </a:cubicBezTo>
                    <a:cubicBezTo>
                      <a:pt x="1993" y="230"/>
                      <a:pt x="1999" y="233"/>
                      <a:pt x="2005" y="240"/>
                    </a:cubicBezTo>
                    <a:cubicBezTo>
                      <a:pt x="2011" y="247"/>
                      <a:pt x="2019" y="252"/>
                      <a:pt x="2028" y="251"/>
                    </a:cubicBezTo>
                    <a:cubicBezTo>
                      <a:pt x="2036" y="250"/>
                      <a:pt x="2039" y="243"/>
                      <a:pt x="2038" y="234"/>
                    </a:cubicBezTo>
                    <a:cubicBezTo>
                      <a:pt x="2038" y="230"/>
                      <a:pt x="2044" y="233"/>
                      <a:pt x="2044" y="232"/>
                    </a:cubicBezTo>
                    <a:cubicBezTo>
                      <a:pt x="2047" y="225"/>
                      <a:pt x="2059" y="232"/>
                      <a:pt x="2059" y="223"/>
                    </a:cubicBezTo>
                    <a:close/>
                    <a:moveTo>
                      <a:pt x="704" y="589"/>
                    </a:moveTo>
                    <a:cubicBezTo>
                      <a:pt x="709" y="597"/>
                      <a:pt x="708" y="608"/>
                      <a:pt x="704" y="616"/>
                    </a:cubicBezTo>
                    <a:cubicBezTo>
                      <a:pt x="702" y="620"/>
                      <a:pt x="690" y="620"/>
                      <a:pt x="683" y="619"/>
                    </a:cubicBezTo>
                    <a:cubicBezTo>
                      <a:pt x="676" y="617"/>
                      <a:pt x="669" y="613"/>
                      <a:pt x="663" y="609"/>
                    </a:cubicBezTo>
                    <a:cubicBezTo>
                      <a:pt x="657" y="604"/>
                      <a:pt x="650" y="599"/>
                      <a:pt x="658" y="590"/>
                    </a:cubicBezTo>
                    <a:cubicBezTo>
                      <a:pt x="670" y="575"/>
                      <a:pt x="656" y="564"/>
                      <a:pt x="649" y="553"/>
                    </a:cubicBezTo>
                    <a:cubicBezTo>
                      <a:pt x="644" y="544"/>
                      <a:pt x="638" y="537"/>
                      <a:pt x="643" y="526"/>
                    </a:cubicBezTo>
                    <a:cubicBezTo>
                      <a:pt x="649" y="512"/>
                      <a:pt x="657" y="500"/>
                      <a:pt x="674" y="498"/>
                    </a:cubicBezTo>
                    <a:cubicBezTo>
                      <a:pt x="680" y="497"/>
                      <a:pt x="686" y="498"/>
                      <a:pt x="692" y="498"/>
                    </a:cubicBezTo>
                    <a:cubicBezTo>
                      <a:pt x="698" y="497"/>
                      <a:pt x="700" y="501"/>
                      <a:pt x="700" y="507"/>
                    </a:cubicBezTo>
                    <a:cubicBezTo>
                      <a:pt x="700" y="513"/>
                      <a:pt x="698" y="518"/>
                      <a:pt x="692" y="516"/>
                    </a:cubicBezTo>
                    <a:cubicBezTo>
                      <a:pt x="681" y="512"/>
                      <a:pt x="678" y="522"/>
                      <a:pt x="672" y="526"/>
                    </a:cubicBezTo>
                    <a:cubicBezTo>
                      <a:pt x="678" y="532"/>
                      <a:pt x="675" y="545"/>
                      <a:pt x="687" y="546"/>
                    </a:cubicBezTo>
                    <a:cubicBezTo>
                      <a:pt x="688" y="546"/>
                      <a:pt x="690" y="547"/>
                      <a:pt x="690" y="547"/>
                    </a:cubicBezTo>
                    <a:cubicBezTo>
                      <a:pt x="691" y="560"/>
                      <a:pt x="707" y="558"/>
                      <a:pt x="713" y="569"/>
                    </a:cubicBezTo>
                    <a:cubicBezTo>
                      <a:pt x="693" y="572"/>
                      <a:pt x="693" y="572"/>
                      <a:pt x="704" y="58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4">
                <a:extLst>
                  <a:ext uri="{FF2B5EF4-FFF2-40B4-BE49-F238E27FC236}">
                    <a16:creationId xmlns:a16="http://schemas.microsoft.com/office/drawing/2014/main" id="{4816EF47-A7C9-7DA9-281D-70A236E872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23547" y="1810576"/>
                <a:ext cx="3182947" cy="3735447"/>
              </a:xfrm>
              <a:custGeom>
                <a:avLst/>
                <a:gdLst>
                  <a:gd name="T0" fmla="*/ 1175 w 1335"/>
                  <a:gd name="T1" fmla="*/ 940 h 1566"/>
                  <a:gd name="T2" fmla="*/ 1056 w 1335"/>
                  <a:gd name="T3" fmla="*/ 840 h 1566"/>
                  <a:gd name="T4" fmla="*/ 910 w 1335"/>
                  <a:gd name="T5" fmla="*/ 859 h 1566"/>
                  <a:gd name="T6" fmla="*/ 797 w 1335"/>
                  <a:gd name="T7" fmla="*/ 770 h 1566"/>
                  <a:gd name="T8" fmla="*/ 706 w 1335"/>
                  <a:gd name="T9" fmla="*/ 720 h 1566"/>
                  <a:gd name="T10" fmla="*/ 778 w 1335"/>
                  <a:gd name="T11" fmla="*/ 636 h 1566"/>
                  <a:gd name="T12" fmla="*/ 880 w 1335"/>
                  <a:gd name="T13" fmla="*/ 669 h 1566"/>
                  <a:gd name="T14" fmla="*/ 924 w 1335"/>
                  <a:gd name="T15" fmla="*/ 540 h 1566"/>
                  <a:gd name="T16" fmla="*/ 1051 w 1335"/>
                  <a:gd name="T17" fmla="*/ 459 h 1566"/>
                  <a:gd name="T18" fmla="*/ 1030 w 1335"/>
                  <a:gd name="T19" fmla="*/ 404 h 1566"/>
                  <a:gd name="T20" fmla="*/ 1151 w 1335"/>
                  <a:gd name="T21" fmla="*/ 422 h 1566"/>
                  <a:gd name="T22" fmla="*/ 1098 w 1335"/>
                  <a:gd name="T23" fmla="*/ 319 h 1566"/>
                  <a:gd name="T24" fmla="*/ 983 w 1335"/>
                  <a:gd name="T25" fmla="*/ 246 h 1566"/>
                  <a:gd name="T26" fmla="*/ 895 w 1335"/>
                  <a:gd name="T27" fmla="*/ 273 h 1566"/>
                  <a:gd name="T28" fmla="*/ 856 w 1335"/>
                  <a:gd name="T29" fmla="*/ 345 h 1566"/>
                  <a:gd name="T30" fmla="*/ 767 w 1335"/>
                  <a:gd name="T31" fmla="*/ 209 h 1566"/>
                  <a:gd name="T32" fmla="*/ 869 w 1335"/>
                  <a:gd name="T33" fmla="*/ 195 h 1566"/>
                  <a:gd name="T34" fmla="*/ 905 w 1335"/>
                  <a:gd name="T35" fmla="*/ 88 h 1566"/>
                  <a:gd name="T36" fmla="*/ 921 w 1335"/>
                  <a:gd name="T37" fmla="*/ 168 h 1566"/>
                  <a:gd name="T38" fmla="*/ 1015 w 1335"/>
                  <a:gd name="T39" fmla="*/ 215 h 1566"/>
                  <a:gd name="T40" fmla="*/ 1042 w 1335"/>
                  <a:gd name="T41" fmla="*/ 170 h 1566"/>
                  <a:gd name="T42" fmla="*/ 942 w 1335"/>
                  <a:gd name="T43" fmla="*/ 58 h 1566"/>
                  <a:gd name="T44" fmla="*/ 823 w 1335"/>
                  <a:gd name="T45" fmla="*/ 58 h 1566"/>
                  <a:gd name="T46" fmla="*/ 841 w 1335"/>
                  <a:gd name="T47" fmla="*/ 87 h 1566"/>
                  <a:gd name="T48" fmla="*/ 734 w 1335"/>
                  <a:gd name="T49" fmla="*/ 53 h 1566"/>
                  <a:gd name="T50" fmla="*/ 725 w 1335"/>
                  <a:gd name="T51" fmla="*/ 37 h 1566"/>
                  <a:gd name="T52" fmla="*/ 595 w 1335"/>
                  <a:gd name="T53" fmla="*/ 119 h 1566"/>
                  <a:gd name="T54" fmla="*/ 539 w 1335"/>
                  <a:gd name="T55" fmla="*/ 102 h 1566"/>
                  <a:gd name="T56" fmla="*/ 625 w 1335"/>
                  <a:gd name="T57" fmla="*/ 18 h 1566"/>
                  <a:gd name="T58" fmla="*/ 546 w 1335"/>
                  <a:gd name="T59" fmla="*/ 40 h 1566"/>
                  <a:gd name="T60" fmla="*/ 436 w 1335"/>
                  <a:gd name="T61" fmla="*/ 25 h 1566"/>
                  <a:gd name="T62" fmla="*/ 508 w 1335"/>
                  <a:gd name="T63" fmla="*/ 89 h 1566"/>
                  <a:gd name="T64" fmla="*/ 395 w 1335"/>
                  <a:gd name="T65" fmla="*/ 84 h 1566"/>
                  <a:gd name="T66" fmla="*/ 274 w 1335"/>
                  <a:gd name="T67" fmla="*/ 91 h 1566"/>
                  <a:gd name="T68" fmla="*/ 58 w 1335"/>
                  <a:gd name="T69" fmla="*/ 85 h 1566"/>
                  <a:gd name="T70" fmla="*/ 6 w 1335"/>
                  <a:gd name="T71" fmla="*/ 171 h 1566"/>
                  <a:gd name="T72" fmla="*/ 27 w 1335"/>
                  <a:gd name="T73" fmla="*/ 245 h 1566"/>
                  <a:gd name="T74" fmla="*/ 82 w 1335"/>
                  <a:gd name="T75" fmla="*/ 302 h 1566"/>
                  <a:gd name="T76" fmla="*/ 130 w 1335"/>
                  <a:gd name="T77" fmla="*/ 292 h 1566"/>
                  <a:gd name="T78" fmla="*/ 164 w 1335"/>
                  <a:gd name="T79" fmla="*/ 264 h 1566"/>
                  <a:gd name="T80" fmla="*/ 292 w 1335"/>
                  <a:gd name="T81" fmla="*/ 270 h 1566"/>
                  <a:gd name="T82" fmla="*/ 370 w 1335"/>
                  <a:gd name="T83" fmla="*/ 330 h 1566"/>
                  <a:gd name="T84" fmla="*/ 462 w 1335"/>
                  <a:gd name="T85" fmla="*/ 561 h 1566"/>
                  <a:gd name="T86" fmla="*/ 582 w 1335"/>
                  <a:gd name="T87" fmla="*/ 694 h 1566"/>
                  <a:gd name="T88" fmla="*/ 659 w 1335"/>
                  <a:gd name="T89" fmla="*/ 763 h 1566"/>
                  <a:gd name="T90" fmla="*/ 804 w 1335"/>
                  <a:gd name="T91" fmla="*/ 817 h 1566"/>
                  <a:gd name="T92" fmla="*/ 925 w 1335"/>
                  <a:gd name="T93" fmla="*/ 950 h 1566"/>
                  <a:gd name="T94" fmla="*/ 948 w 1335"/>
                  <a:gd name="T95" fmla="*/ 1107 h 1566"/>
                  <a:gd name="T96" fmla="*/ 947 w 1335"/>
                  <a:gd name="T97" fmla="*/ 1386 h 1566"/>
                  <a:gd name="T98" fmla="*/ 931 w 1335"/>
                  <a:gd name="T99" fmla="*/ 1479 h 1566"/>
                  <a:gd name="T100" fmla="*/ 947 w 1335"/>
                  <a:gd name="T101" fmla="*/ 1532 h 1566"/>
                  <a:gd name="T102" fmla="*/ 984 w 1335"/>
                  <a:gd name="T103" fmla="*/ 1562 h 1566"/>
                  <a:gd name="T104" fmla="*/ 1027 w 1335"/>
                  <a:gd name="T105" fmla="*/ 1382 h 1566"/>
                  <a:gd name="T106" fmla="*/ 1169 w 1335"/>
                  <a:gd name="T107" fmla="*/ 1254 h 1566"/>
                  <a:gd name="T108" fmla="*/ 1306 w 1335"/>
                  <a:gd name="T109" fmla="*/ 1061 h 1566"/>
                  <a:gd name="T110" fmla="*/ 720 w 1335"/>
                  <a:gd name="T111" fmla="*/ 125 h 1566"/>
                  <a:gd name="T112" fmla="*/ 548 w 1335"/>
                  <a:gd name="T113" fmla="*/ 619 h 1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35" h="1566">
                    <a:moveTo>
                      <a:pt x="1314" y="992"/>
                    </a:moveTo>
                    <a:cubicBezTo>
                      <a:pt x="1312" y="992"/>
                      <a:pt x="1309" y="989"/>
                      <a:pt x="1307" y="987"/>
                    </a:cubicBezTo>
                    <a:cubicBezTo>
                      <a:pt x="1291" y="969"/>
                      <a:pt x="1270" y="967"/>
                      <a:pt x="1247" y="969"/>
                    </a:cubicBezTo>
                    <a:cubicBezTo>
                      <a:pt x="1244" y="969"/>
                      <a:pt x="1239" y="971"/>
                      <a:pt x="1238" y="967"/>
                    </a:cubicBezTo>
                    <a:cubicBezTo>
                      <a:pt x="1236" y="953"/>
                      <a:pt x="1224" y="954"/>
                      <a:pt x="1214" y="950"/>
                    </a:cubicBezTo>
                    <a:cubicBezTo>
                      <a:pt x="1208" y="948"/>
                      <a:pt x="1202" y="944"/>
                      <a:pt x="1200" y="955"/>
                    </a:cubicBezTo>
                    <a:cubicBezTo>
                      <a:pt x="1200" y="957"/>
                      <a:pt x="1197" y="957"/>
                      <a:pt x="1195" y="957"/>
                    </a:cubicBezTo>
                    <a:cubicBezTo>
                      <a:pt x="1194" y="957"/>
                      <a:pt x="1192" y="956"/>
                      <a:pt x="1193" y="954"/>
                    </a:cubicBezTo>
                    <a:cubicBezTo>
                      <a:pt x="1198" y="935"/>
                      <a:pt x="1181" y="946"/>
                      <a:pt x="1175" y="940"/>
                    </a:cubicBezTo>
                    <a:cubicBezTo>
                      <a:pt x="1183" y="933"/>
                      <a:pt x="1186" y="926"/>
                      <a:pt x="1175" y="919"/>
                    </a:cubicBezTo>
                    <a:cubicBezTo>
                      <a:pt x="1173" y="918"/>
                      <a:pt x="1171" y="914"/>
                      <a:pt x="1171" y="911"/>
                    </a:cubicBezTo>
                    <a:cubicBezTo>
                      <a:pt x="1170" y="896"/>
                      <a:pt x="1158" y="890"/>
                      <a:pt x="1146" y="885"/>
                    </a:cubicBezTo>
                    <a:cubicBezTo>
                      <a:pt x="1136" y="881"/>
                      <a:pt x="1126" y="879"/>
                      <a:pt x="1115" y="879"/>
                    </a:cubicBezTo>
                    <a:cubicBezTo>
                      <a:pt x="1106" y="879"/>
                      <a:pt x="1099" y="875"/>
                      <a:pt x="1097" y="869"/>
                    </a:cubicBezTo>
                    <a:cubicBezTo>
                      <a:pt x="1095" y="861"/>
                      <a:pt x="1087" y="858"/>
                      <a:pt x="1083" y="857"/>
                    </a:cubicBezTo>
                    <a:cubicBezTo>
                      <a:pt x="1069" y="856"/>
                      <a:pt x="1068" y="848"/>
                      <a:pt x="1069" y="837"/>
                    </a:cubicBezTo>
                    <a:cubicBezTo>
                      <a:pt x="1069" y="835"/>
                      <a:pt x="1068" y="834"/>
                      <a:pt x="1068" y="834"/>
                    </a:cubicBezTo>
                    <a:cubicBezTo>
                      <a:pt x="1061" y="834"/>
                      <a:pt x="1063" y="850"/>
                      <a:pt x="1056" y="840"/>
                    </a:cubicBezTo>
                    <a:cubicBezTo>
                      <a:pt x="1051" y="833"/>
                      <a:pt x="1047" y="834"/>
                      <a:pt x="1041" y="837"/>
                    </a:cubicBezTo>
                    <a:cubicBezTo>
                      <a:pt x="1029" y="844"/>
                      <a:pt x="1016" y="832"/>
                      <a:pt x="1004" y="837"/>
                    </a:cubicBezTo>
                    <a:cubicBezTo>
                      <a:pt x="1001" y="838"/>
                      <a:pt x="998" y="835"/>
                      <a:pt x="998" y="833"/>
                    </a:cubicBezTo>
                    <a:cubicBezTo>
                      <a:pt x="997" y="821"/>
                      <a:pt x="986" y="822"/>
                      <a:pt x="982" y="823"/>
                    </a:cubicBezTo>
                    <a:cubicBezTo>
                      <a:pt x="973" y="825"/>
                      <a:pt x="963" y="830"/>
                      <a:pt x="968" y="843"/>
                    </a:cubicBezTo>
                    <a:cubicBezTo>
                      <a:pt x="969" y="846"/>
                      <a:pt x="967" y="848"/>
                      <a:pt x="965" y="848"/>
                    </a:cubicBezTo>
                    <a:cubicBezTo>
                      <a:pt x="962" y="849"/>
                      <a:pt x="961" y="847"/>
                      <a:pt x="960" y="844"/>
                    </a:cubicBezTo>
                    <a:cubicBezTo>
                      <a:pt x="960" y="836"/>
                      <a:pt x="960" y="827"/>
                      <a:pt x="969" y="818"/>
                    </a:cubicBezTo>
                    <a:cubicBezTo>
                      <a:pt x="940" y="823"/>
                      <a:pt x="922" y="838"/>
                      <a:pt x="910" y="859"/>
                    </a:cubicBezTo>
                    <a:cubicBezTo>
                      <a:pt x="900" y="851"/>
                      <a:pt x="892" y="839"/>
                      <a:pt x="880" y="846"/>
                    </a:cubicBezTo>
                    <a:cubicBezTo>
                      <a:pt x="871" y="851"/>
                      <a:pt x="867" y="849"/>
                      <a:pt x="860" y="844"/>
                    </a:cubicBezTo>
                    <a:cubicBezTo>
                      <a:pt x="845" y="832"/>
                      <a:pt x="840" y="819"/>
                      <a:pt x="849" y="801"/>
                    </a:cubicBezTo>
                    <a:cubicBezTo>
                      <a:pt x="849" y="799"/>
                      <a:pt x="849" y="797"/>
                      <a:pt x="849" y="795"/>
                    </a:cubicBezTo>
                    <a:cubicBezTo>
                      <a:pt x="850" y="786"/>
                      <a:pt x="850" y="779"/>
                      <a:pt x="838" y="781"/>
                    </a:cubicBezTo>
                    <a:cubicBezTo>
                      <a:pt x="836" y="781"/>
                      <a:pt x="834" y="780"/>
                      <a:pt x="832" y="780"/>
                    </a:cubicBezTo>
                    <a:cubicBezTo>
                      <a:pt x="831" y="779"/>
                      <a:pt x="830" y="779"/>
                      <a:pt x="829" y="778"/>
                    </a:cubicBezTo>
                    <a:cubicBezTo>
                      <a:pt x="820" y="779"/>
                      <a:pt x="811" y="780"/>
                      <a:pt x="802" y="781"/>
                    </a:cubicBezTo>
                    <a:cubicBezTo>
                      <a:pt x="794" y="780"/>
                      <a:pt x="794" y="773"/>
                      <a:pt x="797" y="770"/>
                    </a:cubicBezTo>
                    <a:cubicBezTo>
                      <a:pt x="805" y="761"/>
                      <a:pt x="807" y="751"/>
                      <a:pt x="809" y="739"/>
                    </a:cubicBezTo>
                    <a:cubicBezTo>
                      <a:pt x="813" y="723"/>
                      <a:pt x="813" y="721"/>
                      <a:pt x="796" y="721"/>
                    </a:cubicBezTo>
                    <a:cubicBezTo>
                      <a:pt x="791" y="721"/>
                      <a:pt x="786" y="721"/>
                      <a:pt x="781" y="721"/>
                    </a:cubicBezTo>
                    <a:cubicBezTo>
                      <a:pt x="772" y="720"/>
                      <a:pt x="772" y="726"/>
                      <a:pt x="773" y="732"/>
                    </a:cubicBezTo>
                    <a:cubicBezTo>
                      <a:pt x="773" y="734"/>
                      <a:pt x="772" y="737"/>
                      <a:pt x="772" y="739"/>
                    </a:cubicBezTo>
                    <a:cubicBezTo>
                      <a:pt x="767" y="743"/>
                      <a:pt x="762" y="748"/>
                      <a:pt x="757" y="752"/>
                    </a:cubicBezTo>
                    <a:cubicBezTo>
                      <a:pt x="751" y="752"/>
                      <a:pt x="745" y="752"/>
                      <a:pt x="739" y="752"/>
                    </a:cubicBezTo>
                    <a:cubicBezTo>
                      <a:pt x="728" y="752"/>
                      <a:pt x="722" y="744"/>
                      <a:pt x="718" y="736"/>
                    </a:cubicBezTo>
                    <a:cubicBezTo>
                      <a:pt x="715" y="729"/>
                      <a:pt x="711" y="724"/>
                      <a:pt x="706" y="720"/>
                    </a:cubicBezTo>
                    <a:cubicBezTo>
                      <a:pt x="706" y="704"/>
                      <a:pt x="706" y="687"/>
                      <a:pt x="707" y="671"/>
                    </a:cubicBezTo>
                    <a:cubicBezTo>
                      <a:pt x="710" y="670"/>
                      <a:pt x="712" y="667"/>
                      <a:pt x="711" y="663"/>
                    </a:cubicBezTo>
                    <a:cubicBezTo>
                      <a:pt x="715" y="658"/>
                      <a:pt x="719" y="653"/>
                      <a:pt x="724" y="648"/>
                    </a:cubicBezTo>
                    <a:cubicBezTo>
                      <a:pt x="724" y="645"/>
                      <a:pt x="725" y="643"/>
                      <a:pt x="726" y="642"/>
                    </a:cubicBezTo>
                    <a:cubicBezTo>
                      <a:pt x="725" y="643"/>
                      <a:pt x="724" y="645"/>
                      <a:pt x="724" y="647"/>
                    </a:cubicBezTo>
                    <a:cubicBezTo>
                      <a:pt x="734" y="649"/>
                      <a:pt x="738" y="639"/>
                      <a:pt x="745" y="635"/>
                    </a:cubicBezTo>
                    <a:cubicBezTo>
                      <a:pt x="752" y="636"/>
                      <a:pt x="759" y="636"/>
                      <a:pt x="766" y="636"/>
                    </a:cubicBezTo>
                    <a:cubicBezTo>
                      <a:pt x="767" y="637"/>
                      <a:pt x="768" y="637"/>
                      <a:pt x="769" y="638"/>
                    </a:cubicBezTo>
                    <a:cubicBezTo>
                      <a:pt x="772" y="639"/>
                      <a:pt x="776" y="640"/>
                      <a:pt x="778" y="636"/>
                    </a:cubicBezTo>
                    <a:cubicBezTo>
                      <a:pt x="787" y="642"/>
                      <a:pt x="787" y="635"/>
                      <a:pt x="790" y="630"/>
                    </a:cubicBezTo>
                    <a:cubicBezTo>
                      <a:pt x="798" y="630"/>
                      <a:pt x="806" y="630"/>
                      <a:pt x="814" y="630"/>
                    </a:cubicBezTo>
                    <a:cubicBezTo>
                      <a:pt x="816" y="636"/>
                      <a:pt x="821" y="636"/>
                      <a:pt x="826" y="635"/>
                    </a:cubicBezTo>
                    <a:cubicBezTo>
                      <a:pt x="830" y="635"/>
                      <a:pt x="834" y="636"/>
                      <a:pt x="838" y="636"/>
                    </a:cubicBezTo>
                    <a:cubicBezTo>
                      <a:pt x="838" y="636"/>
                      <a:pt x="838" y="636"/>
                      <a:pt x="838" y="636"/>
                    </a:cubicBezTo>
                    <a:cubicBezTo>
                      <a:pt x="845" y="644"/>
                      <a:pt x="853" y="651"/>
                      <a:pt x="851" y="663"/>
                    </a:cubicBezTo>
                    <a:cubicBezTo>
                      <a:pt x="850" y="670"/>
                      <a:pt x="855" y="676"/>
                      <a:pt x="859" y="680"/>
                    </a:cubicBezTo>
                    <a:cubicBezTo>
                      <a:pt x="865" y="686"/>
                      <a:pt x="874" y="689"/>
                      <a:pt x="879" y="678"/>
                    </a:cubicBezTo>
                    <a:cubicBezTo>
                      <a:pt x="879" y="675"/>
                      <a:pt x="880" y="672"/>
                      <a:pt x="880" y="669"/>
                    </a:cubicBezTo>
                    <a:cubicBezTo>
                      <a:pt x="882" y="654"/>
                      <a:pt x="873" y="642"/>
                      <a:pt x="869" y="630"/>
                    </a:cubicBezTo>
                    <a:cubicBezTo>
                      <a:pt x="869" y="628"/>
                      <a:pt x="869" y="626"/>
                      <a:pt x="869" y="624"/>
                    </a:cubicBezTo>
                    <a:cubicBezTo>
                      <a:pt x="873" y="622"/>
                      <a:pt x="875" y="620"/>
                      <a:pt x="873" y="615"/>
                    </a:cubicBezTo>
                    <a:cubicBezTo>
                      <a:pt x="874" y="614"/>
                      <a:pt x="874" y="613"/>
                      <a:pt x="874" y="612"/>
                    </a:cubicBezTo>
                    <a:cubicBezTo>
                      <a:pt x="881" y="607"/>
                      <a:pt x="886" y="601"/>
                      <a:pt x="891" y="595"/>
                    </a:cubicBezTo>
                    <a:cubicBezTo>
                      <a:pt x="894" y="594"/>
                      <a:pt x="897" y="592"/>
                      <a:pt x="898" y="588"/>
                    </a:cubicBezTo>
                    <a:cubicBezTo>
                      <a:pt x="920" y="583"/>
                      <a:pt x="929" y="561"/>
                      <a:pt x="916" y="546"/>
                    </a:cubicBezTo>
                    <a:cubicBezTo>
                      <a:pt x="916" y="542"/>
                      <a:pt x="916" y="538"/>
                      <a:pt x="916" y="534"/>
                    </a:cubicBezTo>
                    <a:cubicBezTo>
                      <a:pt x="921" y="534"/>
                      <a:pt x="921" y="545"/>
                      <a:pt x="924" y="540"/>
                    </a:cubicBezTo>
                    <a:cubicBezTo>
                      <a:pt x="928" y="532"/>
                      <a:pt x="938" y="530"/>
                      <a:pt x="940" y="520"/>
                    </a:cubicBezTo>
                    <a:cubicBezTo>
                      <a:pt x="942" y="511"/>
                      <a:pt x="950" y="506"/>
                      <a:pt x="957" y="505"/>
                    </a:cubicBezTo>
                    <a:cubicBezTo>
                      <a:pt x="973" y="502"/>
                      <a:pt x="977" y="494"/>
                      <a:pt x="976" y="480"/>
                    </a:cubicBezTo>
                    <a:cubicBezTo>
                      <a:pt x="979" y="479"/>
                      <a:pt x="982" y="478"/>
                      <a:pt x="982" y="474"/>
                    </a:cubicBezTo>
                    <a:cubicBezTo>
                      <a:pt x="988" y="475"/>
                      <a:pt x="992" y="471"/>
                      <a:pt x="996" y="468"/>
                    </a:cubicBezTo>
                    <a:cubicBezTo>
                      <a:pt x="1004" y="462"/>
                      <a:pt x="1014" y="458"/>
                      <a:pt x="1024" y="459"/>
                    </a:cubicBezTo>
                    <a:cubicBezTo>
                      <a:pt x="1020" y="461"/>
                      <a:pt x="1019" y="465"/>
                      <a:pt x="1018" y="470"/>
                    </a:cubicBezTo>
                    <a:cubicBezTo>
                      <a:pt x="1026" y="473"/>
                      <a:pt x="1033" y="472"/>
                      <a:pt x="1038" y="464"/>
                    </a:cubicBezTo>
                    <a:cubicBezTo>
                      <a:pt x="1041" y="460"/>
                      <a:pt x="1046" y="459"/>
                      <a:pt x="1051" y="459"/>
                    </a:cubicBezTo>
                    <a:cubicBezTo>
                      <a:pt x="1065" y="462"/>
                      <a:pt x="1069" y="446"/>
                      <a:pt x="1080" y="443"/>
                    </a:cubicBezTo>
                    <a:cubicBezTo>
                      <a:pt x="1075" y="444"/>
                      <a:pt x="1074" y="430"/>
                      <a:pt x="1070" y="438"/>
                    </a:cubicBezTo>
                    <a:cubicBezTo>
                      <a:pt x="1064" y="450"/>
                      <a:pt x="1056" y="446"/>
                      <a:pt x="1048" y="447"/>
                    </a:cubicBezTo>
                    <a:cubicBezTo>
                      <a:pt x="1044" y="446"/>
                      <a:pt x="1042" y="440"/>
                      <a:pt x="1036" y="441"/>
                    </a:cubicBezTo>
                    <a:cubicBezTo>
                      <a:pt x="1036" y="439"/>
                      <a:pt x="1035" y="437"/>
                      <a:pt x="1035" y="435"/>
                    </a:cubicBezTo>
                    <a:cubicBezTo>
                      <a:pt x="1038" y="429"/>
                      <a:pt x="1032" y="426"/>
                      <a:pt x="1031" y="422"/>
                    </a:cubicBezTo>
                    <a:cubicBezTo>
                      <a:pt x="1032" y="422"/>
                      <a:pt x="1032" y="421"/>
                      <a:pt x="1031" y="420"/>
                    </a:cubicBezTo>
                    <a:cubicBezTo>
                      <a:pt x="1039" y="411"/>
                      <a:pt x="1039" y="409"/>
                      <a:pt x="1033" y="405"/>
                    </a:cubicBezTo>
                    <a:cubicBezTo>
                      <a:pt x="1032" y="405"/>
                      <a:pt x="1031" y="404"/>
                      <a:pt x="1030" y="404"/>
                    </a:cubicBezTo>
                    <a:cubicBezTo>
                      <a:pt x="1026" y="401"/>
                      <a:pt x="1022" y="401"/>
                      <a:pt x="1018" y="401"/>
                    </a:cubicBezTo>
                    <a:cubicBezTo>
                      <a:pt x="1019" y="388"/>
                      <a:pt x="1030" y="392"/>
                      <a:pt x="1039" y="388"/>
                    </a:cubicBezTo>
                    <a:cubicBezTo>
                      <a:pt x="1048" y="388"/>
                      <a:pt x="1057" y="388"/>
                      <a:pt x="1066" y="388"/>
                    </a:cubicBezTo>
                    <a:cubicBezTo>
                      <a:pt x="1084" y="396"/>
                      <a:pt x="1097" y="384"/>
                      <a:pt x="1113" y="371"/>
                    </a:cubicBezTo>
                    <a:cubicBezTo>
                      <a:pt x="1106" y="391"/>
                      <a:pt x="1095" y="405"/>
                      <a:pt x="1088" y="421"/>
                    </a:cubicBezTo>
                    <a:cubicBezTo>
                      <a:pt x="1102" y="427"/>
                      <a:pt x="1118" y="417"/>
                      <a:pt x="1132" y="426"/>
                    </a:cubicBezTo>
                    <a:cubicBezTo>
                      <a:pt x="1135" y="428"/>
                      <a:pt x="1140" y="428"/>
                      <a:pt x="1143" y="431"/>
                    </a:cubicBezTo>
                    <a:cubicBezTo>
                      <a:pt x="1145" y="433"/>
                      <a:pt x="1150" y="434"/>
                      <a:pt x="1152" y="430"/>
                    </a:cubicBezTo>
                    <a:cubicBezTo>
                      <a:pt x="1154" y="428"/>
                      <a:pt x="1153" y="425"/>
                      <a:pt x="1151" y="422"/>
                    </a:cubicBezTo>
                    <a:cubicBezTo>
                      <a:pt x="1147" y="417"/>
                      <a:pt x="1140" y="412"/>
                      <a:pt x="1144" y="404"/>
                    </a:cubicBezTo>
                    <a:cubicBezTo>
                      <a:pt x="1144" y="403"/>
                      <a:pt x="1142" y="401"/>
                      <a:pt x="1141" y="402"/>
                    </a:cubicBezTo>
                    <a:cubicBezTo>
                      <a:pt x="1131" y="406"/>
                      <a:pt x="1126" y="396"/>
                      <a:pt x="1119" y="393"/>
                    </a:cubicBezTo>
                    <a:cubicBezTo>
                      <a:pt x="1117" y="392"/>
                      <a:pt x="1113" y="393"/>
                      <a:pt x="1116" y="388"/>
                    </a:cubicBezTo>
                    <a:cubicBezTo>
                      <a:pt x="1119" y="382"/>
                      <a:pt x="1120" y="374"/>
                      <a:pt x="1122" y="370"/>
                    </a:cubicBezTo>
                    <a:cubicBezTo>
                      <a:pt x="1131" y="351"/>
                      <a:pt x="1126" y="342"/>
                      <a:pt x="1108" y="337"/>
                    </a:cubicBezTo>
                    <a:cubicBezTo>
                      <a:pt x="1105" y="334"/>
                      <a:pt x="1099" y="339"/>
                      <a:pt x="1096" y="333"/>
                    </a:cubicBezTo>
                    <a:cubicBezTo>
                      <a:pt x="1099" y="333"/>
                      <a:pt x="1104" y="334"/>
                      <a:pt x="1104" y="331"/>
                    </a:cubicBezTo>
                    <a:cubicBezTo>
                      <a:pt x="1104" y="326"/>
                      <a:pt x="1102" y="319"/>
                      <a:pt x="1098" y="319"/>
                    </a:cubicBezTo>
                    <a:cubicBezTo>
                      <a:pt x="1082" y="320"/>
                      <a:pt x="1077" y="306"/>
                      <a:pt x="1066" y="300"/>
                    </a:cubicBezTo>
                    <a:cubicBezTo>
                      <a:pt x="1066" y="297"/>
                      <a:pt x="1066" y="294"/>
                      <a:pt x="1066" y="291"/>
                    </a:cubicBezTo>
                    <a:cubicBezTo>
                      <a:pt x="1066" y="288"/>
                      <a:pt x="1067" y="284"/>
                      <a:pt x="1065" y="282"/>
                    </a:cubicBezTo>
                    <a:cubicBezTo>
                      <a:pt x="1058" y="272"/>
                      <a:pt x="1050" y="262"/>
                      <a:pt x="1042" y="252"/>
                    </a:cubicBezTo>
                    <a:cubicBezTo>
                      <a:pt x="1037" y="247"/>
                      <a:pt x="1029" y="241"/>
                      <a:pt x="1026" y="250"/>
                    </a:cubicBezTo>
                    <a:cubicBezTo>
                      <a:pt x="1022" y="260"/>
                      <a:pt x="1014" y="265"/>
                      <a:pt x="1009" y="272"/>
                    </a:cubicBezTo>
                    <a:cubicBezTo>
                      <a:pt x="1007" y="272"/>
                      <a:pt x="1005" y="272"/>
                      <a:pt x="1003" y="272"/>
                    </a:cubicBezTo>
                    <a:cubicBezTo>
                      <a:pt x="997" y="266"/>
                      <a:pt x="991" y="259"/>
                      <a:pt x="984" y="252"/>
                    </a:cubicBezTo>
                    <a:cubicBezTo>
                      <a:pt x="984" y="250"/>
                      <a:pt x="983" y="248"/>
                      <a:pt x="983" y="246"/>
                    </a:cubicBezTo>
                    <a:cubicBezTo>
                      <a:pt x="986" y="237"/>
                      <a:pt x="982" y="233"/>
                      <a:pt x="973" y="234"/>
                    </a:cubicBezTo>
                    <a:cubicBezTo>
                      <a:pt x="970" y="232"/>
                      <a:pt x="967" y="230"/>
                      <a:pt x="964" y="228"/>
                    </a:cubicBezTo>
                    <a:cubicBezTo>
                      <a:pt x="960" y="223"/>
                      <a:pt x="957" y="217"/>
                      <a:pt x="949" y="217"/>
                    </a:cubicBezTo>
                    <a:cubicBezTo>
                      <a:pt x="947" y="217"/>
                      <a:pt x="945" y="216"/>
                      <a:pt x="943" y="216"/>
                    </a:cubicBezTo>
                    <a:cubicBezTo>
                      <a:pt x="937" y="215"/>
                      <a:pt x="931" y="215"/>
                      <a:pt x="924" y="212"/>
                    </a:cubicBezTo>
                    <a:cubicBezTo>
                      <a:pt x="908" y="203"/>
                      <a:pt x="898" y="211"/>
                      <a:pt x="898" y="228"/>
                    </a:cubicBezTo>
                    <a:cubicBezTo>
                      <a:pt x="898" y="240"/>
                      <a:pt x="904" y="254"/>
                      <a:pt x="893" y="265"/>
                    </a:cubicBezTo>
                    <a:cubicBezTo>
                      <a:pt x="893" y="265"/>
                      <a:pt x="895" y="268"/>
                      <a:pt x="895" y="270"/>
                    </a:cubicBezTo>
                    <a:cubicBezTo>
                      <a:pt x="895" y="271"/>
                      <a:pt x="895" y="272"/>
                      <a:pt x="895" y="273"/>
                    </a:cubicBezTo>
                    <a:cubicBezTo>
                      <a:pt x="891" y="278"/>
                      <a:pt x="894" y="280"/>
                      <a:pt x="898" y="281"/>
                    </a:cubicBezTo>
                    <a:cubicBezTo>
                      <a:pt x="901" y="286"/>
                      <a:pt x="904" y="291"/>
                      <a:pt x="910" y="294"/>
                    </a:cubicBezTo>
                    <a:cubicBezTo>
                      <a:pt x="910" y="297"/>
                      <a:pt x="910" y="300"/>
                      <a:pt x="911" y="303"/>
                    </a:cubicBezTo>
                    <a:cubicBezTo>
                      <a:pt x="910" y="304"/>
                      <a:pt x="910" y="305"/>
                      <a:pt x="910" y="306"/>
                    </a:cubicBezTo>
                    <a:cubicBezTo>
                      <a:pt x="903" y="311"/>
                      <a:pt x="897" y="317"/>
                      <a:pt x="892" y="324"/>
                    </a:cubicBezTo>
                    <a:cubicBezTo>
                      <a:pt x="880" y="330"/>
                      <a:pt x="885" y="340"/>
                      <a:pt x="889" y="346"/>
                    </a:cubicBezTo>
                    <a:cubicBezTo>
                      <a:pt x="893" y="352"/>
                      <a:pt x="892" y="358"/>
                      <a:pt x="892" y="363"/>
                    </a:cubicBezTo>
                    <a:cubicBezTo>
                      <a:pt x="890" y="371"/>
                      <a:pt x="887" y="376"/>
                      <a:pt x="878" y="368"/>
                    </a:cubicBezTo>
                    <a:cubicBezTo>
                      <a:pt x="870" y="361"/>
                      <a:pt x="862" y="354"/>
                      <a:pt x="856" y="345"/>
                    </a:cubicBezTo>
                    <a:cubicBezTo>
                      <a:pt x="858" y="343"/>
                      <a:pt x="859" y="342"/>
                      <a:pt x="857" y="340"/>
                    </a:cubicBezTo>
                    <a:cubicBezTo>
                      <a:pt x="858" y="326"/>
                      <a:pt x="856" y="316"/>
                      <a:pt x="837" y="317"/>
                    </a:cubicBezTo>
                    <a:cubicBezTo>
                      <a:pt x="830" y="317"/>
                      <a:pt x="818" y="315"/>
                      <a:pt x="812" y="308"/>
                    </a:cubicBezTo>
                    <a:cubicBezTo>
                      <a:pt x="799" y="291"/>
                      <a:pt x="781" y="293"/>
                      <a:pt x="764" y="293"/>
                    </a:cubicBezTo>
                    <a:cubicBezTo>
                      <a:pt x="755" y="293"/>
                      <a:pt x="754" y="290"/>
                      <a:pt x="754" y="283"/>
                    </a:cubicBezTo>
                    <a:cubicBezTo>
                      <a:pt x="755" y="275"/>
                      <a:pt x="753" y="270"/>
                      <a:pt x="744" y="269"/>
                    </a:cubicBezTo>
                    <a:cubicBezTo>
                      <a:pt x="740" y="269"/>
                      <a:pt x="737" y="264"/>
                      <a:pt x="733" y="261"/>
                    </a:cubicBezTo>
                    <a:cubicBezTo>
                      <a:pt x="733" y="259"/>
                      <a:pt x="733" y="257"/>
                      <a:pt x="733" y="255"/>
                    </a:cubicBezTo>
                    <a:cubicBezTo>
                      <a:pt x="740" y="236"/>
                      <a:pt x="753" y="222"/>
                      <a:pt x="767" y="209"/>
                    </a:cubicBezTo>
                    <a:cubicBezTo>
                      <a:pt x="772" y="204"/>
                      <a:pt x="769" y="198"/>
                      <a:pt x="770" y="198"/>
                    </a:cubicBezTo>
                    <a:cubicBezTo>
                      <a:pt x="784" y="201"/>
                      <a:pt x="794" y="187"/>
                      <a:pt x="808" y="192"/>
                    </a:cubicBezTo>
                    <a:cubicBezTo>
                      <a:pt x="808" y="185"/>
                      <a:pt x="807" y="178"/>
                      <a:pt x="807" y="171"/>
                    </a:cubicBezTo>
                    <a:cubicBezTo>
                      <a:pt x="807" y="170"/>
                      <a:pt x="808" y="169"/>
                      <a:pt x="808" y="167"/>
                    </a:cubicBezTo>
                    <a:cubicBezTo>
                      <a:pt x="810" y="167"/>
                      <a:pt x="812" y="167"/>
                      <a:pt x="814" y="166"/>
                    </a:cubicBezTo>
                    <a:cubicBezTo>
                      <a:pt x="826" y="168"/>
                      <a:pt x="816" y="174"/>
                      <a:pt x="816" y="178"/>
                    </a:cubicBezTo>
                    <a:cubicBezTo>
                      <a:pt x="817" y="184"/>
                      <a:pt x="814" y="189"/>
                      <a:pt x="808" y="192"/>
                    </a:cubicBezTo>
                    <a:cubicBezTo>
                      <a:pt x="816" y="195"/>
                      <a:pt x="829" y="202"/>
                      <a:pt x="831" y="200"/>
                    </a:cubicBezTo>
                    <a:cubicBezTo>
                      <a:pt x="843" y="187"/>
                      <a:pt x="857" y="196"/>
                      <a:pt x="869" y="195"/>
                    </a:cubicBezTo>
                    <a:cubicBezTo>
                      <a:pt x="871" y="195"/>
                      <a:pt x="873" y="195"/>
                      <a:pt x="873" y="192"/>
                    </a:cubicBezTo>
                    <a:cubicBezTo>
                      <a:pt x="856" y="178"/>
                      <a:pt x="838" y="167"/>
                      <a:pt x="817" y="159"/>
                    </a:cubicBezTo>
                    <a:cubicBezTo>
                      <a:pt x="820" y="156"/>
                      <a:pt x="818" y="149"/>
                      <a:pt x="825" y="151"/>
                    </a:cubicBezTo>
                    <a:cubicBezTo>
                      <a:pt x="836" y="154"/>
                      <a:pt x="846" y="148"/>
                      <a:pt x="856" y="148"/>
                    </a:cubicBezTo>
                    <a:cubicBezTo>
                      <a:pt x="859" y="148"/>
                      <a:pt x="860" y="147"/>
                      <a:pt x="860" y="144"/>
                    </a:cubicBezTo>
                    <a:cubicBezTo>
                      <a:pt x="870" y="133"/>
                      <a:pt x="859" y="119"/>
                      <a:pt x="864" y="106"/>
                    </a:cubicBezTo>
                    <a:cubicBezTo>
                      <a:pt x="867" y="98"/>
                      <a:pt x="853" y="99"/>
                      <a:pt x="850" y="93"/>
                    </a:cubicBezTo>
                    <a:cubicBezTo>
                      <a:pt x="863" y="92"/>
                      <a:pt x="879" y="91"/>
                      <a:pt x="887" y="85"/>
                    </a:cubicBezTo>
                    <a:cubicBezTo>
                      <a:pt x="898" y="78"/>
                      <a:pt x="900" y="84"/>
                      <a:pt x="905" y="88"/>
                    </a:cubicBezTo>
                    <a:cubicBezTo>
                      <a:pt x="908" y="91"/>
                      <a:pt x="911" y="94"/>
                      <a:pt x="915" y="96"/>
                    </a:cubicBezTo>
                    <a:cubicBezTo>
                      <a:pt x="924" y="100"/>
                      <a:pt x="921" y="103"/>
                      <a:pt x="915" y="107"/>
                    </a:cubicBezTo>
                    <a:cubicBezTo>
                      <a:pt x="931" y="106"/>
                      <a:pt x="945" y="113"/>
                      <a:pt x="950" y="125"/>
                    </a:cubicBezTo>
                    <a:cubicBezTo>
                      <a:pt x="956" y="137"/>
                      <a:pt x="959" y="146"/>
                      <a:pt x="975" y="142"/>
                    </a:cubicBezTo>
                    <a:cubicBezTo>
                      <a:pt x="977" y="141"/>
                      <a:pt x="982" y="147"/>
                      <a:pt x="986" y="150"/>
                    </a:cubicBezTo>
                    <a:cubicBezTo>
                      <a:pt x="978" y="156"/>
                      <a:pt x="973" y="158"/>
                      <a:pt x="966" y="150"/>
                    </a:cubicBezTo>
                    <a:cubicBezTo>
                      <a:pt x="959" y="143"/>
                      <a:pt x="950" y="147"/>
                      <a:pt x="942" y="148"/>
                    </a:cubicBezTo>
                    <a:cubicBezTo>
                      <a:pt x="939" y="148"/>
                      <a:pt x="937" y="152"/>
                      <a:pt x="938" y="155"/>
                    </a:cubicBezTo>
                    <a:cubicBezTo>
                      <a:pt x="943" y="173"/>
                      <a:pt x="930" y="171"/>
                      <a:pt x="921" y="168"/>
                    </a:cubicBezTo>
                    <a:cubicBezTo>
                      <a:pt x="914" y="165"/>
                      <a:pt x="909" y="168"/>
                      <a:pt x="903" y="171"/>
                    </a:cubicBezTo>
                    <a:cubicBezTo>
                      <a:pt x="899" y="173"/>
                      <a:pt x="898" y="176"/>
                      <a:pt x="899" y="179"/>
                    </a:cubicBezTo>
                    <a:cubicBezTo>
                      <a:pt x="899" y="184"/>
                      <a:pt x="904" y="183"/>
                      <a:pt x="907" y="183"/>
                    </a:cubicBezTo>
                    <a:cubicBezTo>
                      <a:pt x="916" y="182"/>
                      <a:pt x="924" y="184"/>
                      <a:pt x="933" y="181"/>
                    </a:cubicBezTo>
                    <a:cubicBezTo>
                      <a:pt x="940" y="178"/>
                      <a:pt x="946" y="182"/>
                      <a:pt x="953" y="187"/>
                    </a:cubicBezTo>
                    <a:cubicBezTo>
                      <a:pt x="961" y="192"/>
                      <a:pt x="960" y="205"/>
                      <a:pt x="969" y="206"/>
                    </a:cubicBezTo>
                    <a:cubicBezTo>
                      <a:pt x="984" y="207"/>
                      <a:pt x="995" y="218"/>
                      <a:pt x="1008" y="223"/>
                    </a:cubicBezTo>
                    <a:cubicBezTo>
                      <a:pt x="1012" y="224"/>
                      <a:pt x="1014" y="225"/>
                      <a:pt x="1016" y="222"/>
                    </a:cubicBezTo>
                    <a:cubicBezTo>
                      <a:pt x="1019" y="219"/>
                      <a:pt x="1016" y="216"/>
                      <a:pt x="1015" y="215"/>
                    </a:cubicBezTo>
                    <a:cubicBezTo>
                      <a:pt x="1009" y="208"/>
                      <a:pt x="1002" y="203"/>
                      <a:pt x="996" y="197"/>
                    </a:cubicBezTo>
                    <a:cubicBezTo>
                      <a:pt x="1004" y="198"/>
                      <a:pt x="1011" y="201"/>
                      <a:pt x="1017" y="205"/>
                    </a:cubicBezTo>
                    <a:cubicBezTo>
                      <a:pt x="1024" y="208"/>
                      <a:pt x="1028" y="206"/>
                      <a:pt x="1033" y="201"/>
                    </a:cubicBezTo>
                    <a:cubicBezTo>
                      <a:pt x="1041" y="195"/>
                      <a:pt x="1030" y="196"/>
                      <a:pt x="1030" y="192"/>
                    </a:cubicBezTo>
                    <a:cubicBezTo>
                      <a:pt x="1029" y="179"/>
                      <a:pt x="1017" y="177"/>
                      <a:pt x="1009" y="171"/>
                    </a:cubicBezTo>
                    <a:cubicBezTo>
                      <a:pt x="1000" y="166"/>
                      <a:pt x="1001" y="157"/>
                      <a:pt x="1005" y="151"/>
                    </a:cubicBezTo>
                    <a:cubicBezTo>
                      <a:pt x="1009" y="145"/>
                      <a:pt x="1014" y="155"/>
                      <a:pt x="1020" y="155"/>
                    </a:cubicBezTo>
                    <a:cubicBezTo>
                      <a:pt x="1022" y="154"/>
                      <a:pt x="1024" y="161"/>
                      <a:pt x="1027" y="163"/>
                    </a:cubicBezTo>
                    <a:cubicBezTo>
                      <a:pt x="1031" y="167"/>
                      <a:pt x="1035" y="174"/>
                      <a:pt x="1042" y="170"/>
                    </a:cubicBezTo>
                    <a:cubicBezTo>
                      <a:pt x="1052" y="164"/>
                      <a:pt x="1059" y="156"/>
                      <a:pt x="1065" y="146"/>
                    </a:cubicBezTo>
                    <a:cubicBezTo>
                      <a:pt x="1066" y="145"/>
                      <a:pt x="1065" y="144"/>
                      <a:pt x="1064" y="144"/>
                    </a:cubicBezTo>
                    <a:cubicBezTo>
                      <a:pt x="1050" y="140"/>
                      <a:pt x="1043" y="125"/>
                      <a:pt x="1028" y="123"/>
                    </a:cubicBezTo>
                    <a:cubicBezTo>
                      <a:pt x="1020" y="122"/>
                      <a:pt x="1013" y="119"/>
                      <a:pt x="1006" y="117"/>
                    </a:cubicBezTo>
                    <a:cubicBezTo>
                      <a:pt x="1002" y="115"/>
                      <a:pt x="998" y="107"/>
                      <a:pt x="1002" y="106"/>
                    </a:cubicBezTo>
                    <a:cubicBezTo>
                      <a:pt x="1016" y="102"/>
                      <a:pt x="995" y="91"/>
                      <a:pt x="1007" y="88"/>
                    </a:cubicBezTo>
                    <a:cubicBezTo>
                      <a:pt x="997" y="89"/>
                      <a:pt x="993" y="76"/>
                      <a:pt x="989" y="76"/>
                    </a:cubicBezTo>
                    <a:cubicBezTo>
                      <a:pt x="971" y="80"/>
                      <a:pt x="965" y="54"/>
                      <a:pt x="947" y="63"/>
                    </a:cubicBezTo>
                    <a:cubicBezTo>
                      <a:pt x="944" y="64"/>
                      <a:pt x="944" y="60"/>
                      <a:pt x="942" y="58"/>
                    </a:cubicBezTo>
                    <a:cubicBezTo>
                      <a:pt x="929" y="47"/>
                      <a:pt x="917" y="35"/>
                      <a:pt x="898" y="39"/>
                    </a:cubicBezTo>
                    <a:cubicBezTo>
                      <a:pt x="898" y="45"/>
                      <a:pt x="894" y="49"/>
                      <a:pt x="888" y="46"/>
                    </a:cubicBezTo>
                    <a:cubicBezTo>
                      <a:pt x="881" y="43"/>
                      <a:pt x="877" y="47"/>
                      <a:pt x="869" y="50"/>
                    </a:cubicBezTo>
                    <a:cubicBezTo>
                      <a:pt x="869" y="42"/>
                      <a:pt x="869" y="34"/>
                      <a:pt x="869" y="27"/>
                    </a:cubicBezTo>
                    <a:cubicBezTo>
                      <a:pt x="865" y="25"/>
                      <a:pt x="863" y="11"/>
                      <a:pt x="852" y="17"/>
                    </a:cubicBezTo>
                    <a:cubicBezTo>
                      <a:pt x="845" y="21"/>
                      <a:pt x="837" y="24"/>
                      <a:pt x="830" y="27"/>
                    </a:cubicBezTo>
                    <a:cubicBezTo>
                      <a:pt x="825" y="29"/>
                      <a:pt x="821" y="32"/>
                      <a:pt x="823" y="36"/>
                    </a:cubicBezTo>
                    <a:cubicBezTo>
                      <a:pt x="826" y="42"/>
                      <a:pt x="826" y="46"/>
                      <a:pt x="823" y="51"/>
                    </a:cubicBezTo>
                    <a:cubicBezTo>
                      <a:pt x="822" y="54"/>
                      <a:pt x="829" y="57"/>
                      <a:pt x="823" y="58"/>
                    </a:cubicBezTo>
                    <a:cubicBezTo>
                      <a:pt x="819" y="58"/>
                      <a:pt x="818" y="55"/>
                      <a:pt x="817" y="51"/>
                    </a:cubicBezTo>
                    <a:cubicBezTo>
                      <a:pt x="813" y="37"/>
                      <a:pt x="815" y="26"/>
                      <a:pt x="830" y="20"/>
                    </a:cubicBezTo>
                    <a:cubicBezTo>
                      <a:pt x="816" y="15"/>
                      <a:pt x="794" y="22"/>
                      <a:pt x="787" y="32"/>
                    </a:cubicBezTo>
                    <a:cubicBezTo>
                      <a:pt x="781" y="40"/>
                      <a:pt x="779" y="50"/>
                      <a:pt x="782" y="60"/>
                    </a:cubicBezTo>
                    <a:cubicBezTo>
                      <a:pt x="784" y="67"/>
                      <a:pt x="794" y="64"/>
                      <a:pt x="800" y="66"/>
                    </a:cubicBezTo>
                    <a:cubicBezTo>
                      <a:pt x="801" y="67"/>
                      <a:pt x="803" y="67"/>
                      <a:pt x="802" y="68"/>
                    </a:cubicBezTo>
                    <a:cubicBezTo>
                      <a:pt x="797" y="72"/>
                      <a:pt x="789" y="64"/>
                      <a:pt x="787" y="73"/>
                    </a:cubicBezTo>
                    <a:cubicBezTo>
                      <a:pt x="787" y="77"/>
                      <a:pt x="790" y="81"/>
                      <a:pt x="795" y="81"/>
                    </a:cubicBezTo>
                    <a:cubicBezTo>
                      <a:pt x="811" y="79"/>
                      <a:pt x="825" y="91"/>
                      <a:pt x="841" y="87"/>
                    </a:cubicBezTo>
                    <a:cubicBezTo>
                      <a:pt x="844" y="87"/>
                      <a:pt x="847" y="87"/>
                      <a:pt x="847" y="91"/>
                    </a:cubicBezTo>
                    <a:cubicBezTo>
                      <a:pt x="836" y="89"/>
                      <a:pt x="825" y="88"/>
                      <a:pt x="823" y="104"/>
                    </a:cubicBezTo>
                    <a:cubicBezTo>
                      <a:pt x="822" y="108"/>
                      <a:pt x="819" y="112"/>
                      <a:pt x="817" y="117"/>
                    </a:cubicBezTo>
                    <a:cubicBezTo>
                      <a:pt x="814" y="119"/>
                      <a:pt x="810" y="121"/>
                      <a:pt x="812" y="126"/>
                    </a:cubicBezTo>
                    <a:cubicBezTo>
                      <a:pt x="797" y="132"/>
                      <a:pt x="800" y="117"/>
                      <a:pt x="801" y="113"/>
                    </a:cubicBezTo>
                    <a:cubicBezTo>
                      <a:pt x="801" y="104"/>
                      <a:pt x="797" y="101"/>
                      <a:pt x="790" y="102"/>
                    </a:cubicBezTo>
                    <a:cubicBezTo>
                      <a:pt x="771" y="106"/>
                      <a:pt x="768" y="93"/>
                      <a:pt x="763" y="81"/>
                    </a:cubicBezTo>
                    <a:cubicBezTo>
                      <a:pt x="767" y="76"/>
                      <a:pt x="764" y="74"/>
                      <a:pt x="760" y="72"/>
                    </a:cubicBezTo>
                    <a:cubicBezTo>
                      <a:pt x="754" y="63"/>
                      <a:pt x="750" y="50"/>
                      <a:pt x="734" y="53"/>
                    </a:cubicBezTo>
                    <a:cubicBezTo>
                      <a:pt x="744" y="49"/>
                      <a:pt x="747" y="34"/>
                      <a:pt x="760" y="38"/>
                    </a:cubicBezTo>
                    <a:cubicBezTo>
                      <a:pt x="762" y="39"/>
                      <a:pt x="763" y="38"/>
                      <a:pt x="762" y="36"/>
                    </a:cubicBezTo>
                    <a:cubicBezTo>
                      <a:pt x="766" y="31"/>
                      <a:pt x="768" y="26"/>
                      <a:pt x="772" y="22"/>
                    </a:cubicBezTo>
                    <a:cubicBezTo>
                      <a:pt x="776" y="17"/>
                      <a:pt x="774" y="14"/>
                      <a:pt x="770" y="14"/>
                    </a:cubicBezTo>
                    <a:cubicBezTo>
                      <a:pt x="760" y="15"/>
                      <a:pt x="752" y="7"/>
                      <a:pt x="742" y="10"/>
                    </a:cubicBezTo>
                    <a:cubicBezTo>
                      <a:pt x="741" y="10"/>
                      <a:pt x="740" y="10"/>
                      <a:pt x="739" y="10"/>
                    </a:cubicBezTo>
                    <a:cubicBezTo>
                      <a:pt x="736" y="9"/>
                      <a:pt x="733" y="11"/>
                      <a:pt x="730" y="13"/>
                    </a:cubicBezTo>
                    <a:cubicBezTo>
                      <a:pt x="725" y="14"/>
                      <a:pt x="730" y="19"/>
                      <a:pt x="727" y="21"/>
                    </a:cubicBezTo>
                    <a:cubicBezTo>
                      <a:pt x="717" y="25"/>
                      <a:pt x="722" y="32"/>
                      <a:pt x="725" y="37"/>
                    </a:cubicBezTo>
                    <a:cubicBezTo>
                      <a:pt x="727" y="43"/>
                      <a:pt x="730" y="51"/>
                      <a:pt x="725" y="53"/>
                    </a:cubicBezTo>
                    <a:cubicBezTo>
                      <a:pt x="708" y="62"/>
                      <a:pt x="711" y="76"/>
                      <a:pt x="713" y="90"/>
                    </a:cubicBezTo>
                    <a:cubicBezTo>
                      <a:pt x="702" y="91"/>
                      <a:pt x="694" y="97"/>
                      <a:pt x="688" y="106"/>
                    </a:cubicBezTo>
                    <a:cubicBezTo>
                      <a:pt x="693" y="108"/>
                      <a:pt x="698" y="110"/>
                      <a:pt x="702" y="112"/>
                    </a:cubicBezTo>
                    <a:cubicBezTo>
                      <a:pt x="697" y="117"/>
                      <a:pt x="693" y="120"/>
                      <a:pt x="688" y="124"/>
                    </a:cubicBezTo>
                    <a:cubicBezTo>
                      <a:pt x="684" y="123"/>
                      <a:pt x="680" y="124"/>
                      <a:pt x="676" y="126"/>
                    </a:cubicBezTo>
                    <a:cubicBezTo>
                      <a:pt x="661" y="127"/>
                      <a:pt x="648" y="121"/>
                      <a:pt x="634" y="115"/>
                    </a:cubicBezTo>
                    <a:cubicBezTo>
                      <a:pt x="631" y="115"/>
                      <a:pt x="628" y="114"/>
                      <a:pt x="625" y="114"/>
                    </a:cubicBezTo>
                    <a:cubicBezTo>
                      <a:pt x="618" y="106"/>
                      <a:pt x="604" y="108"/>
                      <a:pt x="595" y="119"/>
                    </a:cubicBezTo>
                    <a:cubicBezTo>
                      <a:pt x="600" y="121"/>
                      <a:pt x="604" y="114"/>
                      <a:pt x="610" y="119"/>
                    </a:cubicBezTo>
                    <a:cubicBezTo>
                      <a:pt x="594" y="121"/>
                      <a:pt x="610" y="135"/>
                      <a:pt x="601" y="140"/>
                    </a:cubicBezTo>
                    <a:cubicBezTo>
                      <a:pt x="600" y="139"/>
                      <a:pt x="599" y="139"/>
                      <a:pt x="598" y="138"/>
                    </a:cubicBezTo>
                    <a:cubicBezTo>
                      <a:pt x="598" y="130"/>
                      <a:pt x="595" y="125"/>
                      <a:pt x="586" y="127"/>
                    </a:cubicBezTo>
                    <a:cubicBezTo>
                      <a:pt x="583" y="126"/>
                      <a:pt x="581" y="121"/>
                      <a:pt x="577" y="126"/>
                    </a:cubicBezTo>
                    <a:cubicBezTo>
                      <a:pt x="566" y="126"/>
                      <a:pt x="556" y="126"/>
                      <a:pt x="546" y="126"/>
                    </a:cubicBezTo>
                    <a:cubicBezTo>
                      <a:pt x="538" y="127"/>
                      <a:pt x="537" y="123"/>
                      <a:pt x="538" y="117"/>
                    </a:cubicBezTo>
                    <a:cubicBezTo>
                      <a:pt x="541" y="116"/>
                      <a:pt x="541" y="115"/>
                      <a:pt x="538" y="114"/>
                    </a:cubicBezTo>
                    <a:cubicBezTo>
                      <a:pt x="539" y="110"/>
                      <a:pt x="535" y="106"/>
                      <a:pt x="539" y="102"/>
                    </a:cubicBezTo>
                    <a:cubicBezTo>
                      <a:pt x="545" y="104"/>
                      <a:pt x="545" y="110"/>
                      <a:pt x="552" y="112"/>
                    </a:cubicBezTo>
                    <a:cubicBezTo>
                      <a:pt x="573" y="118"/>
                      <a:pt x="590" y="110"/>
                      <a:pt x="608" y="103"/>
                    </a:cubicBezTo>
                    <a:cubicBezTo>
                      <a:pt x="614" y="101"/>
                      <a:pt x="616" y="100"/>
                      <a:pt x="622" y="103"/>
                    </a:cubicBezTo>
                    <a:cubicBezTo>
                      <a:pt x="640" y="114"/>
                      <a:pt x="652" y="112"/>
                      <a:pt x="663" y="101"/>
                    </a:cubicBezTo>
                    <a:cubicBezTo>
                      <a:pt x="660" y="96"/>
                      <a:pt x="652" y="102"/>
                      <a:pt x="649" y="96"/>
                    </a:cubicBezTo>
                    <a:cubicBezTo>
                      <a:pt x="655" y="89"/>
                      <a:pt x="663" y="93"/>
                      <a:pt x="670" y="92"/>
                    </a:cubicBezTo>
                    <a:cubicBezTo>
                      <a:pt x="669" y="80"/>
                      <a:pt x="658" y="79"/>
                      <a:pt x="651" y="76"/>
                    </a:cubicBezTo>
                    <a:cubicBezTo>
                      <a:pt x="633" y="68"/>
                      <a:pt x="624" y="48"/>
                      <a:pt x="632" y="30"/>
                    </a:cubicBezTo>
                    <a:cubicBezTo>
                      <a:pt x="636" y="22"/>
                      <a:pt x="633" y="19"/>
                      <a:pt x="625" y="18"/>
                    </a:cubicBezTo>
                    <a:cubicBezTo>
                      <a:pt x="616" y="17"/>
                      <a:pt x="611" y="28"/>
                      <a:pt x="602" y="29"/>
                    </a:cubicBezTo>
                    <a:cubicBezTo>
                      <a:pt x="600" y="30"/>
                      <a:pt x="601" y="41"/>
                      <a:pt x="603" y="47"/>
                    </a:cubicBezTo>
                    <a:cubicBezTo>
                      <a:pt x="604" y="49"/>
                      <a:pt x="610" y="54"/>
                      <a:pt x="604" y="56"/>
                    </a:cubicBezTo>
                    <a:cubicBezTo>
                      <a:pt x="599" y="58"/>
                      <a:pt x="595" y="55"/>
                      <a:pt x="595" y="49"/>
                    </a:cubicBezTo>
                    <a:cubicBezTo>
                      <a:pt x="596" y="41"/>
                      <a:pt x="590" y="37"/>
                      <a:pt x="584" y="34"/>
                    </a:cubicBezTo>
                    <a:cubicBezTo>
                      <a:pt x="582" y="32"/>
                      <a:pt x="576" y="31"/>
                      <a:pt x="578" y="37"/>
                    </a:cubicBezTo>
                    <a:cubicBezTo>
                      <a:pt x="579" y="40"/>
                      <a:pt x="583" y="45"/>
                      <a:pt x="579" y="43"/>
                    </a:cubicBezTo>
                    <a:cubicBezTo>
                      <a:pt x="573" y="40"/>
                      <a:pt x="569" y="50"/>
                      <a:pt x="565" y="41"/>
                    </a:cubicBezTo>
                    <a:cubicBezTo>
                      <a:pt x="560" y="29"/>
                      <a:pt x="553" y="29"/>
                      <a:pt x="546" y="40"/>
                    </a:cubicBezTo>
                    <a:cubicBezTo>
                      <a:pt x="544" y="42"/>
                      <a:pt x="541" y="43"/>
                      <a:pt x="539" y="42"/>
                    </a:cubicBezTo>
                    <a:cubicBezTo>
                      <a:pt x="534" y="39"/>
                      <a:pt x="541" y="38"/>
                      <a:pt x="541" y="36"/>
                    </a:cubicBezTo>
                    <a:cubicBezTo>
                      <a:pt x="542" y="30"/>
                      <a:pt x="540" y="27"/>
                      <a:pt x="533" y="27"/>
                    </a:cubicBezTo>
                    <a:cubicBezTo>
                      <a:pt x="531" y="27"/>
                      <a:pt x="527" y="29"/>
                      <a:pt x="525" y="24"/>
                    </a:cubicBezTo>
                    <a:cubicBezTo>
                      <a:pt x="520" y="11"/>
                      <a:pt x="510" y="9"/>
                      <a:pt x="498" y="9"/>
                    </a:cubicBezTo>
                    <a:cubicBezTo>
                      <a:pt x="489" y="9"/>
                      <a:pt x="480" y="10"/>
                      <a:pt x="471" y="5"/>
                    </a:cubicBezTo>
                    <a:cubicBezTo>
                      <a:pt x="462" y="0"/>
                      <a:pt x="450" y="3"/>
                      <a:pt x="440" y="6"/>
                    </a:cubicBezTo>
                    <a:cubicBezTo>
                      <a:pt x="431" y="10"/>
                      <a:pt x="442" y="16"/>
                      <a:pt x="439" y="20"/>
                    </a:cubicBezTo>
                    <a:cubicBezTo>
                      <a:pt x="437" y="21"/>
                      <a:pt x="437" y="23"/>
                      <a:pt x="436" y="25"/>
                    </a:cubicBezTo>
                    <a:cubicBezTo>
                      <a:pt x="433" y="32"/>
                      <a:pt x="426" y="39"/>
                      <a:pt x="425" y="44"/>
                    </a:cubicBezTo>
                    <a:cubicBezTo>
                      <a:pt x="423" y="58"/>
                      <a:pt x="446" y="53"/>
                      <a:pt x="446" y="68"/>
                    </a:cubicBezTo>
                    <a:cubicBezTo>
                      <a:pt x="446" y="70"/>
                      <a:pt x="452" y="69"/>
                      <a:pt x="456" y="68"/>
                    </a:cubicBezTo>
                    <a:cubicBezTo>
                      <a:pt x="469" y="64"/>
                      <a:pt x="479" y="58"/>
                      <a:pt x="485" y="46"/>
                    </a:cubicBezTo>
                    <a:cubicBezTo>
                      <a:pt x="488" y="42"/>
                      <a:pt x="491" y="37"/>
                      <a:pt x="498" y="37"/>
                    </a:cubicBezTo>
                    <a:cubicBezTo>
                      <a:pt x="490" y="57"/>
                      <a:pt x="491" y="60"/>
                      <a:pt x="510" y="64"/>
                    </a:cubicBezTo>
                    <a:cubicBezTo>
                      <a:pt x="506" y="67"/>
                      <a:pt x="503" y="69"/>
                      <a:pt x="498" y="72"/>
                    </a:cubicBezTo>
                    <a:cubicBezTo>
                      <a:pt x="518" y="82"/>
                      <a:pt x="541" y="68"/>
                      <a:pt x="559" y="84"/>
                    </a:cubicBezTo>
                    <a:cubicBezTo>
                      <a:pt x="541" y="83"/>
                      <a:pt x="524" y="83"/>
                      <a:pt x="508" y="89"/>
                    </a:cubicBezTo>
                    <a:cubicBezTo>
                      <a:pt x="512" y="99"/>
                      <a:pt x="520" y="99"/>
                      <a:pt x="528" y="101"/>
                    </a:cubicBezTo>
                    <a:cubicBezTo>
                      <a:pt x="518" y="101"/>
                      <a:pt x="509" y="102"/>
                      <a:pt x="498" y="98"/>
                    </a:cubicBezTo>
                    <a:cubicBezTo>
                      <a:pt x="486" y="93"/>
                      <a:pt x="472" y="86"/>
                      <a:pt x="457" y="91"/>
                    </a:cubicBezTo>
                    <a:cubicBezTo>
                      <a:pt x="450" y="90"/>
                      <a:pt x="443" y="90"/>
                      <a:pt x="436" y="89"/>
                    </a:cubicBezTo>
                    <a:cubicBezTo>
                      <a:pt x="432" y="83"/>
                      <a:pt x="428" y="84"/>
                      <a:pt x="424" y="90"/>
                    </a:cubicBezTo>
                    <a:cubicBezTo>
                      <a:pt x="422" y="90"/>
                      <a:pt x="420" y="90"/>
                      <a:pt x="418" y="90"/>
                    </a:cubicBezTo>
                    <a:cubicBezTo>
                      <a:pt x="417" y="86"/>
                      <a:pt x="413" y="84"/>
                      <a:pt x="409" y="84"/>
                    </a:cubicBezTo>
                    <a:cubicBezTo>
                      <a:pt x="409" y="82"/>
                      <a:pt x="407" y="82"/>
                      <a:pt x="406" y="82"/>
                    </a:cubicBezTo>
                    <a:cubicBezTo>
                      <a:pt x="401" y="77"/>
                      <a:pt x="398" y="78"/>
                      <a:pt x="395" y="84"/>
                    </a:cubicBezTo>
                    <a:cubicBezTo>
                      <a:pt x="395" y="83"/>
                      <a:pt x="394" y="84"/>
                      <a:pt x="394" y="85"/>
                    </a:cubicBezTo>
                    <a:cubicBezTo>
                      <a:pt x="388" y="88"/>
                      <a:pt x="382" y="83"/>
                      <a:pt x="376" y="85"/>
                    </a:cubicBezTo>
                    <a:cubicBezTo>
                      <a:pt x="372" y="85"/>
                      <a:pt x="368" y="85"/>
                      <a:pt x="364" y="85"/>
                    </a:cubicBezTo>
                    <a:cubicBezTo>
                      <a:pt x="359" y="91"/>
                      <a:pt x="349" y="88"/>
                      <a:pt x="346" y="96"/>
                    </a:cubicBezTo>
                    <a:cubicBezTo>
                      <a:pt x="344" y="96"/>
                      <a:pt x="342" y="96"/>
                      <a:pt x="340" y="97"/>
                    </a:cubicBezTo>
                    <a:cubicBezTo>
                      <a:pt x="333" y="96"/>
                      <a:pt x="326" y="94"/>
                      <a:pt x="322" y="102"/>
                    </a:cubicBezTo>
                    <a:cubicBezTo>
                      <a:pt x="321" y="102"/>
                      <a:pt x="320" y="103"/>
                      <a:pt x="319" y="103"/>
                    </a:cubicBezTo>
                    <a:cubicBezTo>
                      <a:pt x="312" y="102"/>
                      <a:pt x="305" y="101"/>
                      <a:pt x="298" y="97"/>
                    </a:cubicBezTo>
                    <a:cubicBezTo>
                      <a:pt x="291" y="93"/>
                      <a:pt x="284" y="87"/>
                      <a:pt x="274" y="91"/>
                    </a:cubicBezTo>
                    <a:cubicBezTo>
                      <a:pt x="270" y="90"/>
                      <a:pt x="266" y="90"/>
                      <a:pt x="262" y="90"/>
                    </a:cubicBezTo>
                    <a:cubicBezTo>
                      <a:pt x="259" y="83"/>
                      <a:pt x="253" y="84"/>
                      <a:pt x="247" y="85"/>
                    </a:cubicBezTo>
                    <a:cubicBezTo>
                      <a:pt x="234" y="85"/>
                      <a:pt x="221" y="84"/>
                      <a:pt x="208" y="84"/>
                    </a:cubicBezTo>
                    <a:cubicBezTo>
                      <a:pt x="206" y="80"/>
                      <a:pt x="204" y="78"/>
                      <a:pt x="199" y="79"/>
                    </a:cubicBezTo>
                    <a:cubicBezTo>
                      <a:pt x="179" y="79"/>
                      <a:pt x="160" y="77"/>
                      <a:pt x="141" y="71"/>
                    </a:cubicBezTo>
                    <a:cubicBezTo>
                      <a:pt x="139" y="68"/>
                      <a:pt x="137" y="65"/>
                      <a:pt x="133" y="69"/>
                    </a:cubicBezTo>
                    <a:cubicBezTo>
                      <a:pt x="118" y="63"/>
                      <a:pt x="103" y="65"/>
                      <a:pt x="88" y="73"/>
                    </a:cubicBezTo>
                    <a:cubicBezTo>
                      <a:pt x="78" y="71"/>
                      <a:pt x="70" y="75"/>
                      <a:pt x="65" y="83"/>
                    </a:cubicBezTo>
                    <a:cubicBezTo>
                      <a:pt x="63" y="84"/>
                      <a:pt x="60" y="85"/>
                      <a:pt x="58" y="85"/>
                    </a:cubicBezTo>
                    <a:cubicBezTo>
                      <a:pt x="47" y="83"/>
                      <a:pt x="48" y="93"/>
                      <a:pt x="44" y="98"/>
                    </a:cubicBezTo>
                    <a:cubicBezTo>
                      <a:pt x="38" y="102"/>
                      <a:pt x="34" y="110"/>
                      <a:pt x="25" y="109"/>
                    </a:cubicBezTo>
                    <a:cubicBezTo>
                      <a:pt x="16" y="107"/>
                      <a:pt x="13" y="115"/>
                      <a:pt x="17" y="119"/>
                    </a:cubicBezTo>
                    <a:cubicBezTo>
                      <a:pt x="25" y="129"/>
                      <a:pt x="31" y="142"/>
                      <a:pt x="46" y="143"/>
                    </a:cubicBezTo>
                    <a:cubicBezTo>
                      <a:pt x="48" y="143"/>
                      <a:pt x="50" y="144"/>
                      <a:pt x="52" y="144"/>
                    </a:cubicBezTo>
                    <a:cubicBezTo>
                      <a:pt x="55" y="147"/>
                      <a:pt x="56" y="151"/>
                      <a:pt x="53" y="155"/>
                    </a:cubicBezTo>
                    <a:cubicBezTo>
                      <a:pt x="52" y="156"/>
                      <a:pt x="50" y="157"/>
                      <a:pt x="49" y="156"/>
                    </a:cubicBezTo>
                    <a:cubicBezTo>
                      <a:pt x="36" y="144"/>
                      <a:pt x="23" y="152"/>
                      <a:pt x="10" y="156"/>
                    </a:cubicBezTo>
                    <a:cubicBezTo>
                      <a:pt x="3" y="159"/>
                      <a:pt x="0" y="164"/>
                      <a:pt x="6" y="171"/>
                    </a:cubicBezTo>
                    <a:cubicBezTo>
                      <a:pt x="5" y="175"/>
                      <a:pt x="6" y="177"/>
                      <a:pt x="10" y="178"/>
                    </a:cubicBezTo>
                    <a:cubicBezTo>
                      <a:pt x="26" y="193"/>
                      <a:pt x="43" y="186"/>
                      <a:pt x="61" y="183"/>
                    </a:cubicBezTo>
                    <a:cubicBezTo>
                      <a:pt x="62" y="183"/>
                      <a:pt x="63" y="183"/>
                      <a:pt x="64" y="183"/>
                    </a:cubicBezTo>
                    <a:cubicBezTo>
                      <a:pt x="64" y="186"/>
                      <a:pt x="64" y="189"/>
                      <a:pt x="64" y="192"/>
                    </a:cubicBezTo>
                    <a:cubicBezTo>
                      <a:pt x="60" y="199"/>
                      <a:pt x="50" y="197"/>
                      <a:pt x="46" y="204"/>
                    </a:cubicBezTo>
                    <a:cubicBezTo>
                      <a:pt x="43" y="204"/>
                      <a:pt x="40" y="205"/>
                      <a:pt x="37" y="205"/>
                    </a:cubicBezTo>
                    <a:cubicBezTo>
                      <a:pt x="28" y="209"/>
                      <a:pt x="19" y="213"/>
                      <a:pt x="19" y="225"/>
                    </a:cubicBezTo>
                    <a:cubicBezTo>
                      <a:pt x="19" y="227"/>
                      <a:pt x="19" y="229"/>
                      <a:pt x="19" y="231"/>
                    </a:cubicBezTo>
                    <a:cubicBezTo>
                      <a:pt x="16" y="239"/>
                      <a:pt x="23" y="241"/>
                      <a:pt x="27" y="245"/>
                    </a:cubicBezTo>
                    <a:cubicBezTo>
                      <a:pt x="28" y="246"/>
                      <a:pt x="29" y="248"/>
                      <a:pt x="29" y="249"/>
                    </a:cubicBezTo>
                    <a:cubicBezTo>
                      <a:pt x="29" y="254"/>
                      <a:pt x="31" y="257"/>
                      <a:pt x="37" y="257"/>
                    </a:cubicBezTo>
                    <a:cubicBezTo>
                      <a:pt x="38" y="257"/>
                      <a:pt x="40" y="258"/>
                      <a:pt x="41" y="258"/>
                    </a:cubicBezTo>
                    <a:cubicBezTo>
                      <a:pt x="51" y="258"/>
                      <a:pt x="61" y="256"/>
                      <a:pt x="59" y="271"/>
                    </a:cubicBezTo>
                    <a:cubicBezTo>
                      <a:pt x="58" y="275"/>
                      <a:pt x="63" y="276"/>
                      <a:pt x="67" y="276"/>
                    </a:cubicBezTo>
                    <a:cubicBezTo>
                      <a:pt x="73" y="276"/>
                      <a:pt x="79" y="276"/>
                      <a:pt x="86" y="276"/>
                    </a:cubicBezTo>
                    <a:cubicBezTo>
                      <a:pt x="90" y="276"/>
                      <a:pt x="94" y="275"/>
                      <a:pt x="96" y="280"/>
                    </a:cubicBezTo>
                    <a:cubicBezTo>
                      <a:pt x="99" y="284"/>
                      <a:pt x="95" y="287"/>
                      <a:pt x="92" y="290"/>
                    </a:cubicBezTo>
                    <a:cubicBezTo>
                      <a:pt x="89" y="294"/>
                      <a:pt x="85" y="298"/>
                      <a:pt x="82" y="302"/>
                    </a:cubicBezTo>
                    <a:cubicBezTo>
                      <a:pt x="78" y="303"/>
                      <a:pt x="78" y="306"/>
                      <a:pt x="77" y="309"/>
                    </a:cubicBezTo>
                    <a:cubicBezTo>
                      <a:pt x="76" y="311"/>
                      <a:pt x="73" y="314"/>
                      <a:pt x="75" y="314"/>
                    </a:cubicBezTo>
                    <a:cubicBezTo>
                      <a:pt x="81" y="315"/>
                      <a:pt x="87" y="320"/>
                      <a:pt x="94" y="316"/>
                    </a:cubicBezTo>
                    <a:cubicBezTo>
                      <a:pt x="97" y="317"/>
                      <a:pt x="98" y="314"/>
                      <a:pt x="99" y="312"/>
                    </a:cubicBezTo>
                    <a:cubicBezTo>
                      <a:pt x="100" y="311"/>
                      <a:pt x="100" y="311"/>
                      <a:pt x="100" y="311"/>
                    </a:cubicBezTo>
                    <a:cubicBezTo>
                      <a:pt x="103" y="311"/>
                      <a:pt x="105" y="309"/>
                      <a:pt x="106" y="306"/>
                    </a:cubicBezTo>
                    <a:cubicBezTo>
                      <a:pt x="108" y="305"/>
                      <a:pt x="110" y="305"/>
                      <a:pt x="112" y="304"/>
                    </a:cubicBezTo>
                    <a:cubicBezTo>
                      <a:pt x="116" y="305"/>
                      <a:pt x="116" y="302"/>
                      <a:pt x="117" y="300"/>
                    </a:cubicBezTo>
                    <a:cubicBezTo>
                      <a:pt x="121" y="297"/>
                      <a:pt x="126" y="295"/>
                      <a:pt x="130" y="292"/>
                    </a:cubicBezTo>
                    <a:cubicBezTo>
                      <a:pt x="133" y="297"/>
                      <a:pt x="138" y="297"/>
                      <a:pt x="143" y="297"/>
                    </a:cubicBezTo>
                    <a:cubicBezTo>
                      <a:pt x="155" y="298"/>
                      <a:pt x="154" y="287"/>
                      <a:pt x="156" y="281"/>
                    </a:cubicBezTo>
                    <a:cubicBezTo>
                      <a:pt x="159" y="271"/>
                      <a:pt x="151" y="279"/>
                      <a:pt x="149" y="278"/>
                    </a:cubicBezTo>
                    <a:cubicBezTo>
                      <a:pt x="145" y="275"/>
                      <a:pt x="145" y="271"/>
                      <a:pt x="147" y="267"/>
                    </a:cubicBezTo>
                    <a:cubicBezTo>
                      <a:pt x="147" y="266"/>
                      <a:pt x="147" y="265"/>
                      <a:pt x="148" y="264"/>
                    </a:cubicBezTo>
                    <a:cubicBezTo>
                      <a:pt x="150" y="262"/>
                      <a:pt x="153" y="261"/>
                      <a:pt x="153" y="258"/>
                    </a:cubicBezTo>
                    <a:cubicBezTo>
                      <a:pt x="154" y="257"/>
                      <a:pt x="154" y="257"/>
                      <a:pt x="154" y="257"/>
                    </a:cubicBezTo>
                    <a:cubicBezTo>
                      <a:pt x="156" y="257"/>
                      <a:pt x="159" y="255"/>
                      <a:pt x="161" y="258"/>
                    </a:cubicBezTo>
                    <a:cubicBezTo>
                      <a:pt x="160" y="261"/>
                      <a:pt x="161" y="263"/>
                      <a:pt x="164" y="264"/>
                    </a:cubicBezTo>
                    <a:cubicBezTo>
                      <a:pt x="168" y="268"/>
                      <a:pt x="173" y="274"/>
                      <a:pt x="178" y="264"/>
                    </a:cubicBezTo>
                    <a:cubicBezTo>
                      <a:pt x="188" y="260"/>
                      <a:pt x="204" y="262"/>
                      <a:pt x="202" y="243"/>
                    </a:cubicBezTo>
                    <a:cubicBezTo>
                      <a:pt x="215" y="249"/>
                      <a:pt x="229" y="254"/>
                      <a:pt x="244" y="252"/>
                    </a:cubicBezTo>
                    <a:cubicBezTo>
                      <a:pt x="244" y="252"/>
                      <a:pt x="244" y="252"/>
                      <a:pt x="244" y="252"/>
                    </a:cubicBezTo>
                    <a:cubicBezTo>
                      <a:pt x="245" y="253"/>
                      <a:pt x="247" y="255"/>
                      <a:pt x="249" y="253"/>
                    </a:cubicBezTo>
                    <a:cubicBezTo>
                      <a:pt x="252" y="255"/>
                      <a:pt x="254" y="253"/>
                      <a:pt x="257" y="253"/>
                    </a:cubicBezTo>
                    <a:cubicBezTo>
                      <a:pt x="259" y="256"/>
                      <a:pt x="261" y="258"/>
                      <a:pt x="265" y="257"/>
                    </a:cubicBezTo>
                    <a:cubicBezTo>
                      <a:pt x="268" y="257"/>
                      <a:pt x="271" y="258"/>
                      <a:pt x="274" y="258"/>
                    </a:cubicBezTo>
                    <a:cubicBezTo>
                      <a:pt x="279" y="264"/>
                      <a:pt x="283" y="270"/>
                      <a:pt x="292" y="270"/>
                    </a:cubicBezTo>
                    <a:cubicBezTo>
                      <a:pt x="293" y="271"/>
                      <a:pt x="294" y="272"/>
                      <a:pt x="295" y="273"/>
                    </a:cubicBezTo>
                    <a:cubicBezTo>
                      <a:pt x="299" y="277"/>
                      <a:pt x="301" y="282"/>
                      <a:pt x="308" y="280"/>
                    </a:cubicBezTo>
                    <a:cubicBezTo>
                      <a:pt x="315" y="278"/>
                      <a:pt x="318" y="283"/>
                      <a:pt x="318" y="289"/>
                    </a:cubicBezTo>
                    <a:cubicBezTo>
                      <a:pt x="318" y="303"/>
                      <a:pt x="326" y="300"/>
                      <a:pt x="334" y="298"/>
                    </a:cubicBezTo>
                    <a:cubicBezTo>
                      <a:pt x="335" y="299"/>
                      <a:pt x="336" y="299"/>
                      <a:pt x="337" y="300"/>
                    </a:cubicBezTo>
                    <a:cubicBezTo>
                      <a:pt x="337" y="304"/>
                      <a:pt x="337" y="308"/>
                      <a:pt x="343" y="306"/>
                    </a:cubicBezTo>
                    <a:cubicBezTo>
                      <a:pt x="346" y="306"/>
                      <a:pt x="349" y="306"/>
                      <a:pt x="352" y="306"/>
                    </a:cubicBezTo>
                    <a:cubicBezTo>
                      <a:pt x="345" y="326"/>
                      <a:pt x="345" y="326"/>
                      <a:pt x="366" y="328"/>
                    </a:cubicBezTo>
                    <a:cubicBezTo>
                      <a:pt x="368" y="328"/>
                      <a:pt x="369" y="329"/>
                      <a:pt x="370" y="330"/>
                    </a:cubicBezTo>
                    <a:cubicBezTo>
                      <a:pt x="370" y="330"/>
                      <a:pt x="370" y="330"/>
                      <a:pt x="370" y="330"/>
                    </a:cubicBezTo>
                    <a:cubicBezTo>
                      <a:pt x="372" y="343"/>
                      <a:pt x="380" y="350"/>
                      <a:pt x="391" y="356"/>
                    </a:cubicBezTo>
                    <a:cubicBezTo>
                      <a:pt x="392" y="357"/>
                      <a:pt x="393" y="359"/>
                      <a:pt x="395" y="360"/>
                    </a:cubicBezTo>
                    <a:cubicBezTo>
                      <a:pt x="396" y="365"/>
                      <a:pt x="403" y="368"/>
                      <a:pt x="397" y="375"/>
                    </a:cubicBezTo>
                    <a:cubicBezTo>
                      <a:pt x="394" y="379"/>
                      <a:pt x="394" y="391"/>
                      <a:pt x="398" y="393"/>
                    </a:cubicBezTo>
                    <a:cubicBezTo>
                      <a:pt x="416" y="402"/>
                      <a:pt x="425" y="417"/>
                      <a:pt x="436" y="432"/>
                    </a:cubicBezTo>
                    <a:cubicBezTo>
                      <a:pt x="437" y="462"/>
                      <a:pt x="434" y="492"/>
                      <a:pt x="438" y="522"/>
                    </a:cubicBezTo>
                    <a:cubicBezTo>
                      <a:pt x="443" y="535"/>
                      <a:pt x="446" y="549"/>
                      <a:pt x="460" y="557"/>
                    </a:cubicBezTo>
                    <a:cubicBezTo>
                      <a:pt x="460" y="558"/>
                      <a:pt x="461" y="560"/>
                      <a:pt x="462" y="561"/>
                    </a:cubicBezTo>
                    <a:cubicBezTo>
                      <a:pt x="465" y="574"/>
                      <a:pt x="475" y="581"/>
                      <a:pt x="485" y="587"/>
                    </a:cubicBezTo>
                    <a:cubicBezTo>
                      <a:pt x="495" y="593"/>
                      <a:pt x="503" y="600"/>
                      <a:pt x="508" y="609"/>
                    </a:cubicBezTo>
                    <a:cubicBezTo>
                      <a:pt x="520" y="632"/>
                      <a:pt x="531" y="656"/>
                      <a:pt x="551" y="674"/>
                    </a:cubicBezTo>
                    <a:cubicBezTo>
                      <a:pt x="553" y="676"/>
                      <a:pt x="556" y="679"/>
                      <a:pt x="556" y="681"/>
                    </a:cubicBezTo>
                    <a:cubicBezTo>
                      <a:pt x="554" y="694"/>
                      <a:pt x="563" y="694"/>
                      <a:pt x="572" y="695"/>
                    </a:cubicBezTo>
                    <a:cubicBezTo>
                      <a:pt x="572" y="695"/>
                      <a:pt x="572" y="695"/>
                      <a:pt x="572" y="695"/>
                    </a:cubicBezTo>
                    <a:cubicBezTo>
                      <a:pt x="574" y="697"/>
                      <a:pt x="575" y="698"/>
                      <a:pt x="576" y="701"/>
                    </a:cubicBezTo>
                    <a:cubicBezTo>
                      <a:pt x="578" y="704"/>
                      <a:pt x="581" y="707"/>
                      <a:pt x="584" y="704"/>
                    </a:cubicBezTo>
                    <a:cubicBezTo>
                      <a:pt x="588" y="701"/>
                      <a:pt x="583" y="698"/>
                      <a:pt x="582" y="694"/>
                    </a:cubicBezTo>
                    <a:cubicBezTo>
                      <a:pt x="582" y="693"/>
                      <a:pt x="577" y="693"/>
                      <a:pt x="574" y="693"/>
                    </a:cubicBezTo>
                    <a:cubicBezTo>
                      <a:pt x="574" y="689"/>
                      <a:pt x="574" y="685"/>
                      <a:pt x="574" y="681"/>
                    </a:cubicBezTo>
                    <a:cubicBezTo>
                      <a:pt x="574" y="678"/>
                      <a:pt x="572" y="673"/>
                      <a:pt x="575" y="671"/>
                    </a:cubicBezTo>
                    <a:cubicBezTo>
                      <a:pt x="580" y="669"/>
                      <a:pt x="582" y="674"/>
                      <a:pt x="584" y="677"/>
                    </a:cubicBezTo>
                    <a:cubicBezTo>
                      <a:pt x="597" y="689"/>
                      <a:pt x="610" y="701"/>
                      <a:pt x="622" y="714"/>
                    </a:cubicBezTo>
                    <a:cubicBezTo>
                      <a:pt x="622" y="721"/>
                      <a:pt x="623" y="728"/>
                      <a:pt x="623" y="735"/>
                    </a:cubicBezTo>
                    <a:cubicBezTo>
                      <a:pt x="624" y="747"/>
                      <a:pt x="640" y="760"/>
                      <a:pt x="655" y="761"/>
                    </a:cubicBezTo>
                    <a:cubicBezTo>
                      <a:pt x="655" y="761"/>
                      <a:pt x="655" y="761"/>
                      <a:pt x="655" y="761"/>
                    </a:cubicBezTo>
                    <a:cubicBezTo>
                      <a:pt x="656" y="762"/>
                      <a:pt x="658" y="762"/>
                      <a:pt x="659" y="763"/>
                    </a:cubicBezTo>
                    <a:cubicBezTo>
                      <a:pt x="661" y="769"/>
                      <a:pt x="668" y="769"/>
                      <a:pt x="672" y="770"/>
                    </a:cubicBezTo>
                    <a:cubicBezTo>
                      <a:pt x="688" y="774"/>
                      <a:pt x="702" y="785"/>
                      <a:pt x="719" y="780"/>
                    </a:cubicBezTo>
                    <a:cubicBezTo>
                      <a:pt x="723" y="780"/>
                      <a:pt x="726" y="780"/>
                      <a:pt x="730" y="779"/>
                    </a:cubicBezTo>
                    <a:cubicBezTo>
                      <a:pt x="740" y="781"/>
                      <a:pt x="745" y="790"/>
                      <a:pt x="751" y="796"/>
                    </a:cubicBezTo>
                    <a:cubicBezTo>
                      <a:pt x="756" y="801"/>
                      <a:pt x="761" y="805"/>
                      <a:pt x="769" y="803"/>
                    </a:cubicBezTo>
                    <a:cubicBezTo>
                      <a:pt x="772" y="804"/>
                      <a:pt x="775" y="804"/>
                      <a:pt x="778" y="804"/>
                    </a:cubicBezTo>
                    <a:cubicBezTo>
                      <a:pt x="780" y="810"/>
                      <a:pt x="785" y="810"/>
                      <a:pt x="790" y="809"/>
                    </a:cubicBezTo>
                    <a:cubicBezTo>
                      <a:pt x="792" y="809"/>
                      <a:pt x="794" y="810"/>
                      <a:pt x="796" y="810"/>
                    </a:cubicBezTo>
                    <a:cubicBezTo>
                      <a:pt x="798" y="814"/>
                      <a:pt x="800" y="816"/>
                      <a:pt x="804" y="817"/>
                    </a:cubicBezTo>
                    <a:cubicBezTo>
                      <a:pt x="810" y="826"/>
                      <a:pt x="816" y="837"/>
                      <a:pt x="823" y="843"/>
                    </a:cubicBezTo>
                    <a:cubicBezTo>
                      <a:pt x="832" y="851"/>
                      <a:pt x="843" y="860"/>
                      <a:pt x="855" y="862"/>
                    </a:cubicBezTo>
                    <a:cubicBezTo>
                      <a:pt x="861" y="864"/>
                      <a:pt x="876" y="879"/>
                      <a:pt x="879" y="856"/>
                    </a:cubicBezTo>
                    <a:cubicBezTo>
                      <a:pt x="879" y="854"/>
                      <a:pt x="890" y="845"/>
                      <a:pt x="893" y="855"/>
                    </a:cubicBezTo>
                    <a:cubicBezTo>
                      <a:pt x="895" y="864"/>
                      <a:pt x="901" y="869"/>
                      <a:pt x="904" y="876"/>
                    </a:cubicBezTo>
                    <a:cubicBezTo>
                      <a:pt x="909" y="889"/>
                      <a:pt x="906" y="906"/>
                      <a:pt x="896" y="916"/>
                    </a:cubicBezTo>
                    <a:cubicBezTo>
                      <a:pt x="890" y="921"/>
                      <a:pt x="890" y="926"/>
                      <a:pt x="896" y="931"/>
                    </a:cubicBezTo>
                    <a:cubicBezTo>
                      <a:pt x="900" y="934"/>
                      <a:pt x="905" y="938"/>
                      <a:pt x="910" y="938"/>
                    </a:cubicBezTo>
                    <a:cubicBezTo>
                      <a:pt x="918" y="939"/>
                      <a:pt x="924" y="942"/>
                      <a:pt x="925" y="950"/>
                    </a:cubicBezTo>
                    <a:cubicBezTo>
                      <a:pt x="925" y="959"/>
                      <a:pt x="918" y="966"/>
                      <a:pt x="910" y="968"/>
                    </a:cubicBezTo>
                    <a:cubicBezTo>
                      <a:pt x="901" y="971"/>
                      <a:pt x="896" y="974"/>
                      <a:pt x="893" y="983"/>
                    </a:cubicBezTo>
                    <a:cubicBezTo>
                      <a:pt x="890" y="992"/>
                      <a:pt x="883" y="989"/>
                      <a:pt x="877" y="984"/>
                    </a:cubicBezTo>
                    <a:cubicBezTo>
                      <a:pt x="876" y="982"/>
                      <a:pt x="877" y="976"/>
                      <a:pt x="872" y="978"/>
                    </a:cubicBezTo>
                    <a:cubicBezTo>
                      <a:pt x="869" y="980"/>
                      <a:pt x="866" y="983"/>
                      <a:pt x="867" y="987"/>
                    </a:cubicBezTo>
                    <a:cubicBezTo>
                      <a:pt x="869" y="993"/>
                      <a:pt x="867" y="1001"/>
                      <a:pt x="873" y="1006"/>
                    </a:cubicBezTo>
                    <a:cubicBezTo>
                      <a:pt x="889" y="1019"/>
                      <a:pt x="894" y="1040"/>
                      <a:pt x="905" y="1057"/>
                    </a:cubicBezTo>
                    <a:cubicBezTo>
                      <a:pt x="915" y="1075"/>
                      <a:pt x="918" y="1099"/>
                      <a:pt x="943" y="1105"/>
                    </a:cubicBezTo>
                    <a:cubicBezTo>
                      <a:pt x="945" y="1105"/>
                      <a:pt x="946" y="1106"/>
                      <a:pt x="948" y="1107"/>
                    </a:cubicBezTo>
                    <a:cubicBezTo>
                      <a:pt x="973" y="1119"/>
                      <a:pt x="981" y="1133"/>
                      <a:pt x="979" y="1158"/>
                    </a:cubicBezTo>
                    <a:cubicBezTo>
                      <a:pt x="978" y="1162"/>
                      <a:pt x="977" y="1167"/>
                      <a:pt x="976" y="1171"/>
                    </a:cubicBezTo>
                    <a:cubicBezTo>
                      <a:pt x="972" y="1197"/>
                      <a:pt x="968" y="1223"/>
                      <a:pt x="965" y="1249"/>
                    </a:cubicBezTo>
                    <a:cubicBezTo>
                      <a:pt x="963" y="1274"/>
                      <a:pt x="961" y="1299"/>
                      <a:pt x="949" y="1322"/>
                    </a:cubicBezTo>
                    <a:cubicBezTo>
                      <a:pt x="945" y="1331"/>
                      <a:pt x="940" y="1339"/>
                      <a:pt x="943" y="1349"/>
                    </a:cubicBezTo>
                    <a:cubicBezTo>
                      <a:pt x="946" y="1357"/>
                      <a:pt x="943" y="1365"/>
                      <a:pt x="942" y="1374"/>
                    </a:cubicBezTo>
                    <a:cubicBezTo>
                      <a:pt x="940" y="1384"/>
                      <a:pt x="933" y="1395"/>
                      <a:pt x="939" y="1407"/>
                    </a:cubicBezTo>
                    <a:cubicBezTo>
                      <a:pt x="945" y="1403"/>
                      <a:pt x="942" y="1398"/>
                      <a:pt x="943" y="1394"/>
                    </a:cubicBezTo>
                    <a:cubicBezTo>
                      <a:pt x="944" y="1391"/>
                      <a:pt x="941" y="1386"/>
                      <a:pt x="947" y="1386"/>
                    </a:cubicBezTo>
                    <a:cubicBezTo>
                      <a:pt x="952" y="1387"/>
                      <a:pt x="952" y="1392"/>
                      <a:pt x="951" y="1396"/>
                    </a:cubicBezTo>
                    <a:cubicBezTo>
                      <a:pt x="949" y="1407"/>
                      <a:pt x="946" y="1417"/>
                      <a:pt x="946" y="1428"/>
                    </a:cubicBezTo>
                    <a:cubicBezTo>
                      <a:pt x="946" y="1431"/>
                      <a:pt x="946" y="1440"/>
                      <a:pt x="936" y="1435"/>
                    </a:cubicBezTo>
                    <a:cubicBezTo>
                      <a:pt x="931" y="1432"/>
                      <a:pt x="929" y="1438"/>
                      <a:pt x="927" y="1442"/>
                    </a:cubicBezTo>
                    <a:cubicBezTo>
                      <a:pt x="925" y="1447"/>
                      <a:pt x="928" y="1449"/>
                      <a:pt x="932" y="1449"/>
                    </a:cubicBezTo>
                    <a:cubicBezTo>
                      <a:pt x="943" y="1449"/>
                      <a:pt x="928" y="1463"/>
                      <a:pt x="939" y="1463"/>
                    </a:cubicBezTo>
                    <a:cubicBezTo>
                      <a:pt x="936" y="1465"/>
                      <a:pt x="933" y="1467"/>
                      <a:pt x="929" y="1466"/>
                    </a:cubicBezTo>
                    <a:cubicBezTo>
                      <a:pt x="927" y="1466"/>
                      <a:pt x="925" y="1467"/>
                      <a:pt x="924" y="1468"/>
                    </a:cubicBezTo>
                    <a:cubicBezTo>
                      <a:pt x="923" y="1474"/>
                      <a:pt x="934" y="1471"/>
                      <a:pt x="931" y="1479"/>
                    </a:cubicBezTo>
                    <a:cubicBezTo>
                      <a:pt x="928" y="1479"/>
                      <a:pt x="924" y="1479"/>
                      <a:pt x="926" y="1483"/>
                    </a:cubicBezTo>
                    <a:cubicBezTo>
                      <a:pt x="926" y="1485"/>
                      <a:pt x="928" y="1486"/>
                      <a:pt x="929" y="1487"/>
                    </a:cubicBezTo>
                    <a:cubicBezTo>
                      <a:pt x="931" y="1485"/>
                      <a:pt x="932" y="1483"/>
                      <a:pt x="933" y="1481"/>
                    </a:cubicBezTo>
                    <a:cubicBezTo>
                      <a:pt x="933" y="1481"/>
                      <a:pt x="934" y="1481"/>
                      <a:pt x="934" y="1480"/>
                    </a:cubicBezTo>
                    <a:cubicBezTo>
                      <a:pt x="935" y="1480"/>
                      <a:pt x="935" y="1480"/>
                      <a:pt x="936" y="1480"/>
                    </a:cubicBezTo>
                    <a:cubicBezTo>
                      <a:pt x="938" y="1483"/>
                      <a:pt x="937" y="1487"/>
                      <a:pt x="936" y="1490"/>
                    </a:cubicBezTo>
                    <a:cubicBezTo>
                      <a:pt x="935" y="1496"/>
                      <a:pt x="925" y="1501"/>
                      <a:pt x="934" y="1507"/>
                    </a:cubicBezTo>
                    <a:cubicBezTo>
                      <a:pt x="940" y="1510"/>
                      <a:pt x="943" y="1518"/>
                      <a:pt x="951" y="1515"/>
                    </a:cubicBezTo>
                    <a:cubicBezTo>
                      <a:pt x="951" y="1522"/>
                      <a:pt x="944" y="1525"/>
                      <a:pt x="947" y="1532"/>
                    </a:cubicBezTo>
                    <a:cubicBezTo>
                      <a:pt x="952" y="1530"/>
                      <a:pt x="958" y="1526"/>
                      <a:pt x="965" y="1531"/>
                    </a:cubicBezTo>
                    <a:cubicBezTo>
                      <a:pt x="955" y="1531"/>
                      <a:pt x="950" y="1538"/>
                      <a:pt x="943" y="1543"/>
                    </a:cubicBezTo>
                    <a:cubicBezTo>
                      <a:pt x="953" y="1545"/>
                      <a:pt x="962" y="1546"/>
                      <a:pt x="967" y="1535"/>
                    </a:cubicBezTo>
                    <a:cubicBezTo>
                      <a:pt x="968" y="1531"/>
                      <a:pt x="969" y="1528"/>
                      <a:pt x="973" y="1527"/>
                    </a:cubicBezTo>
                    <a:cubicBezTo>
                      <a:pt x="973" y="1533"/>
                      <a:pt x="979" y="1535"/>
                      <a:pt x="980" y="1539"/>
                    </a:cubicBezTo>
                    <a:cubicBezTo>
                      <a:pt x="981" y="1542"/>
                      <a:pt x="977" y="1546"/>
                      <a:pt x="972" y="1546"/>
                    </a:cubicBezTo>
                    <a:cubicBezTo>
                      <a:pt x="969" y="1545"/>
                      <a:pt x="964" y="1543"/>
                      <a:pt x="964" y="1548"/>
                    </a:cubicBezTo>
                    <a:cubicBezTo>
                      <a:pt x="963" y="1551"/>
                      <a:pt x="968" y="1557"/>
                      <a:pt x="970" y="1557"/>
                    </a:cubicBezTo>
                    <a:cubicBezTo>
                      <a:pt x="976" y="1555"/>
                      <a:pt x="979" y="1561"/>
                      <a:pt x="984" y="1562"/>
                    </a:cubicBezTo>
                    <a:cubicBezTo>
                      <a:pt x="999" y="1566"/>
                      <a:pt x="1010" y="1557"/>
                      <a:pt x="1024" y="1556"/>
                    </a:cubicBezTo>
                    <a:cubicBezTo>
                      <a:pt x="1003" y="1545"/>
                      <a:pt x="994" y="1532"/>
                      <a:pt x="990" y="1516"/>
                    </a:cubicBezTo>
                    <a:cubicBezTo>
                      <a:pt x="984" y="1493"/>
                      <a:pt x="1001" y="1485"/>
                      <a:pt x="1011" y="1472"/>
                    </a:cubicBezTo>
                    <a:cubicBezTo>
                      <a:pt x="1017" y="1464"/>
                      <a:pt x="1025" y="1458"/>
                      <a:pt x="1011" y="1449"/>
                    </a:cubicBezTo>
                    <a:cubicBezTo>
                      <a:pt x="1001" y="1443"/>
                      <a:pt x="1000" y="1436"/>
                      <a:pt x="1013" y="1431"/>
                    </a:cubicBezTo>
                    <a:cubicBezTo>
                      <a:pt x="1018" y="1429"/>
                      <a:pt x="1023" y="1424"/>
                      <a:pt x="1024" y="1419"/>
                    </a:cubicBezTo>
                    <a:cubicBezTo>
                      <a:pt x="1025" y="1407"/>
                      <a:pt x="1032" y="1400"/>
                      <a:pt x="1044" y="1395"/>
                    </a:cubicBezTo>
                    <a:cubicBezTo>
                      <a:pt x="1041" y="1393"/>
                      <a:pt x="1039" y="1392"/>
                      <a:pt x="1038" y="1392"/>
                    </a:cubicBezTo>
                    <a:cubicBezTo>
                      <a:pt x="1029" y="1395"/>
                      <a:pt x="1028" y="1390"/>
                      <a:pt x="1027" y="1382"/>
                    </a:cubicBezTo>
                    <a:cubicBezTo>
                      <a:pt x="1027" y="1373"/>
                      <a:pt x="1034" y="1376"/>
                      <a:pt x="1038" y="1377"/>
                    </a:cubicBezTo>
                    <a:cubicBezTo>
                      <a:pt x="1053" y="1383"/>
                      <a:pt x="1056" y="1371"/>
                      <a:pt x="1056" y="1362"/>
                    </a:cubicBezTo>
                    <a:cubicBezTo>
                      <a:pt x="1057" y="1353"/>
                      <a:pt x="1061" y="1352"/>
                      <a:pt x="1067" y="1353"/>
                    </a:cubicBezTo>
                    <a:cubicBezTo>
                      <a:pt x="1077" y="1354"/>
                      <a:pt x="1087" y="1351"/>
                      <a:pt x="1096" y="1347"/>
                    </a:cubicBezTo>
                    <a:cubicBezTo>
                      <a:pt x="1104" y="1343"/>
                      <a:pt x="1114" y="1336"/>
                      <a:pt x="1110" y="1326"/>
                    </a:cubicBezTo>
                    <a:cubicBezTo>
                      <a:pt x="1107" y="1319"/>
                      <a:pt x="1106" y="1311"/>
                      <a:pt x="1101" y="1304"/>
                    </a:cubicBezTo>
                    <a:cubicBezTo>
                      <a:pt x="1105" y="1302"/>
                      <a:pt x="1108" y="1303"/>
                      <a:pt x="1112" y="1304"/>
                    </a:cubicBezTo>
                    <a:cubicBezTo>
                      <a:pt x="1132" y="1309"/>
                      <a:pt x="1143" y="1304"/>
                      <a:pt x="1153" y="1285"/>
                    </a:cubicBezTo>
                    <a:cubicBezTo>
                      <a:pt x="1158" y="1275"/>
                      <a:pt x="1162" y="1264"/>
                      <a:pt x="1169" y="1254"/>
                    </a:cubicBezTo>
                    <a:cubicBezTo>
                      <a:pt x="1170" y="1256"/>
                      <a:pt x="1171" y="1257"/>
                      <a:pt x="1171" y="1259"/>
                    </a:cubicBezTo>
                    <a:cubicBezTo>
                      <a:pt x="1171" y="1260"/>
                      <a:pt x="1171" y="1263"/>
                      <a:pt x="1174" y="1262"/>
                    </a:cubicBezTo>
                    <a:cubicBezTo>
                      <a:pt x="1182" y="1245"/>
                      <a:pt x="1198" y="1231"/>
                      <a:pt x="1195" y="1209"/>
                    </a:cubicBezTo>
                    <a:cubicBezTo>
                      <a:pt x="1194" y="1207"/>
                      <a:pt x="1195" y="1205"/>
                      <a:pt x="1196" y="1204"/>
                    </a:cubicBezTo>
                    <a:cubicBezTo>
                      <a:pt x="1210" y="1190"/>
                      <a:pt x="1227" y="1177"/>
                      <a:pt x="1247" y="1177"/>
                    </a:cubicBezTo>
                    <a:cubicBezTo>
                      <a:pt x="1260" y="1176"/>
                      <a:pt x="1267" y="1171"/>
                      <a:pt x="1271" y="1163"/>
                    </a:cubicBezTo>
                    <a:cubicBezTo>
                      <a:pt x="1284" y="1139"/>
                      <a:pt x="1294" y="1115"/>
                      <a:pt x="1291" y="1087"/>
                    </a:cubicBezTo>
                    <a:cubicBezTo>
                      <a:pt x="1291" y="1081"/>
                      <a:pt x="1290" y="1073"/>
                      <a:pt x="1297" y="1072"/>
                    </a:cubicBezTo>
                    <a:cubicBezTo>
                      <a:pt x="1303" y="1070"/>
                      <a:pt x="1304" y="1065"/>
                      <a:pt x="1306" y="1061"/>
                    </a:cubicBezTo>
                    <a:cubicBezTo>
                      <a:pt x="1310" y="1056"/>
                      <a:pt x="1313" y="1050"/>
                      <a:pt x="1319" y="1046"/>
                    </a:cubicBezTo>
                    <a:cubicBezTo>
                      <a:pt x="1331" y="1038"/>
                      <a:pt x="1335" y="1025"/>
                      <a:pt x="1333" y="1011"/>
                    </a:cubicBezTo>
                    <a:cubicBezTo>
                      <a:pt x="1332" y="1000"/>
                      <a:pt x="1328" y="991"/>
                      <a:pt x="1314" y="992"/>
                    </a:cubicBezTo>
                    <a:close/>
                    <a:moveTo>
                      <a:pt x="718" y="93"/>
                    </a:moveTo>
                    <a:cubicBezTo>
                      <a:pt x="718" y="93"/>
                      <a:pt x="718" y="94"/>
                      <a:pt x="718" y="95"/>
                    </a:cubicBezTo>
                    <a:cubicBezTo>
                      <a:pt x="721" y="98"/>
                      <a:pt x="731" y="92"/>
                      <a:pt x="730" y="102"/>
                    </a:cubicBezTo>
                    <a:cubicBezTo>
                      <a:pt x="736" y="100"/>
                      <a:pt x="736" y="104"/>
                      <a:pt x="737" y="108"/>
                    </a:cubicBezTo>
                    <a:cubicBezTo>
                      <a:pt x="736" y="115"/>
                      <a:pt x="731" y="118"/>
                      <a:pt x="727" y="122"/>
                    </a:cubicBezTo>
                    <a:cubicBezTo>
                      <a:pt x="725" y="124"/>
                      <a:pt x="722" y="128"/>
                      <a:pt x="720" y="125"/>
                    </a:cubicBezTo>
                    <a:cubicBezTo>
                      <a:pt x="717" y="123"/>
                      <a:pt x="717" y="119"/>
                      <a:pt x="716" y="116"/>
                    </a:cubicBezTo>
                    <a:cubicBezTo>
                      <a:pt x="716" y="112"/>
                      <a:pt x="719" y="111"/>
                      <a:pt x="722" y="111"/>
                    </a:cubicBezTo>
                    <a:cubicBezTo>
                      <a:pt x="730" y="112"/>
                      <a:pt x="732" y="109"/>
                      <a:pt x="730" y="102"/>
                    </a:cubicBezTo>
                    <a:cubicBezTo>
                      <a:pt x="726" y="100"/>
                      <a:pt x="716" y="107"/>
                      <a:pt x="718" y="95"/>
                    </a:cubicBezTo>
                    <a:cubicBezTo>
                      <a:pt x="718" y="94"/>
                      <a:pt x="718" y="93"/>
                      <a:pt x="718" y="93"/>
                    </a:cubicBezTo>
                    <a:cubicBezTo>
                      <a:pt x="717" y="92"/>
                      <a:pt x="716" y="91"/>
                      <a:pt x="715" y="90"/>
                    </a:cubicBezTo>
                    <a:cubicBezTo>
                      <a:pt x="716" y="91"/>
                      <a:pt x="717" y="92"/>
                      <a:pt x="718" y="93"/>
                    </a:cubicBezTo>
                    <a:close/>
                    <a:moveTo>
                      <a:pt x="537" y="621"/>
                    </a:moveTo>
                    <a:cubicBezTo>
                      <a:pt x="540" y="616"/>
                      <a:pt x="546" y="616"/>
                      <a:pt x="548" y="619"/>
                    </a:cubicBezTo>
                    <a:cubicBezTo>
                      <a:pt x="552" y="624"/>
                      <a:pt x="551" y="630"/>
                      <a:pt x="547" y="635"/>
                    </a:cubicBezTo>
                    <a:cubicBezTo>
                      <a:pt x="544" y="630"/>
                      <a:pt x="541" y="626"/>
                      <a:pt x="537" y="6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38CB7645-D73B-51B8-001A-A5DB78105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931" y="1311977"/>
                <a:ext cx="1444590" cy="1106350"/>
              </a:xfrm>
              <a:custGeom>
                <a:avLst/>
                <a:gdLst>
                  <a:gd name="T0" fmla="*/ 468 w 606"/>
                  <a:gd name="T1" fmla="*/ 290 h 464"/>
                  <a:gd name="T2" fmla="*/ 506 w 606"/>
                  <a:gd name="T3" fmla="*/ 290 h 464"/>
                  <a:gd name="T4" fmla="*/ 501 w 606"/>
                  <a:gd name="T5" fmla="*/ 265 h 464"/>
                  <a:gd name="T6" fmla="*/ 498 w 606"/>
                  <a:gd name="T7" fmla="*/ 254 h 464"/>
                  <a:gd name="T8" fmla="*/ 499 w 606"/>
                  <a:gd name="T9" fmla="*/ 242 h 464"/>
                  <a:gd name="T10" fmla="*/ 478 w 606"/>
                  <a:gd name="T11" fmla="*/ 241 h 464"/>
                  <a:gd name="T12" fmla="*/ 495 w 606"/>
                  <a:gd name="T13" fmla="*/ 232 h 464"/>
                  <a:gd name="T14" fmla="*/ 522 w 606"/>
                  <a:gd name="T15" fmla="*/ 232 h 464"/>
                  <a:gd name="T16" fmla="*/ 512 w 606"/>
                  <a:gd name="T17" fmla="*/ 219 h 464"/>
                  <a:gd name="T18" fmla="*/ 517 w 606"/>
                  <a:gd name="T19" fmla="*/ 200 h 464"/>
                  <a:gd name="T20" fmla="*/ 537 w 606"/>
                  <a:gd name="T21" fmla="*/ 189 h 464"/>
                  <a:gd name="T22" fmla="*/ 503 w 606"/>
                  <a:gd name="T23" fmla="*/ 166 h 464"/>
                  <a:gd name="T24" fmla="*/ 546 w 606"/>
                  <a:gd name="T25" fmla="*/ 159 h 464"/>
                  <a:gd name="T26" fmla="*/ 523 w 606"/>
                  <a:gd name="T27" fmla="*/ 150 h 464"/>
                  <a:gd name="T28" fmla="*/ 512 w 606"/>
                  <a:gd name="T29" fmla="*/ 145 h 464"/>
                  <a:gd name="T30" fmla="*/ 561 w 606"/>
                  <a:gd name="T31" fmla="*/ 86 h 464"/>
                  <a:gd name="T32" fmla="*/ 606 w 606"/>
                  <a:gd name="T33" fmla="*/ 59 h 464"/>
                  <a:gd name="T34" fmla="*/ 555 w 606"/>
                  <a:gd name="T35" fmla="*/ 55 h 464"/>
                  <a:gd name="T36" fmla="*/ 516 w 606"/>
                  <a:gd name="T37" fmla="*/ 61 h 464"/>
                  <a:gd name="T38" fmla="*/ 502 w 606"/>
                  <a:gd name="T39" fmla="*/ 62 h 464"/>
                  <a:gd name="T40" fmla="*/ 489 w 606"/>
                  <a:gd name="T41" fmla="*/ 50 h 464"/>
                  <a:gd name="T42" fmla="*/ 469 w 606"/>
                  <a:gd name="T43" fmla="*/ 51 h 464"/>
                  <a:gd name="T44" fmla="*/ 410 w 606"/>
                  <a:gd name="T45" fmla="*/ 50 h 464"/>
                  <a:gd name="T46" fmla="*/ 509 w 606"/>
                  <a:gd name="T47" fmla="*/ 32 h 464"/>
                  <a:gd name="T48" fmla="*/ 471 w 606"/>
                  <a:gd name="T49" fmla="*/ 16 h 464"/>
                  <a:gd name="T50" fmla="*/ 441 w 606"/>
                  <a:gd name="T51" fmla="*/ 12 h 464"/>
                  <a:gd name="T52" fmla="*/ 337 w 606"/>
                  <a:gd name="T53" fmla="*/ 19 h 464"/>
                  <a:gd name="T54" fmla="*/ 270 w 606"/>
                  <a:gd name="T55" fmla="*/ 30 h 464"/>
                  <a:gd name="T56" fmla="*/ 263 w 606"/>
                  <a:gd name="T57" fmla="*/ 46 h 464"/>
                  <a:gd name="T58" fmla="*/ 220 w 606"/>
                  <a:gd name="T59" fmla="*/ 36 h 464"/>
                  <a:gd name="T60" fmla="*/ 207 w 606"/>
                  <a:gd name="T61" fmla="*/ 44 h 464"/>
                  <a:gd name="T62" fmla="*/ 192 w 606"/>
                  <a:gd name="T63" fmla="*/ 56 h 464"/>
                  <a:gd name="T64" fmla="*/ 184 w 606"/>
                  <a:gd name="T65" fmla="*/ 39 h 464"/>
                  <a:gd name="T66" fmla="*/ 131 w 606"/>
                  <a:gd name="T67" fmla="*/ 50 h 464"/>
                  <a:gd name="T68" fmla="*/ 103 w 606"/>
                  <a:gd name="T69" fmla="*/ 68 h 464"/>
                  <a:gd name="T70" fmla="*/ 70 w 606"/>
                  <a:gd name="T71" fmla="*/ 92 h 464"/>
                  <a:gd name="T72" fmla="*/ 55 w 606"/>
                  <a:gd name="T73" fmla="*/ 116 h 464"/>
                  <a:gd name="T74" fmla="*/ 0 w 606"/>
                  <a:gd name="T75" fmla="*/ 134 h 464"/>
                  <a:gd name="T76" fmla="*/ 38 w 606"/>
                  <a:gd name="T77" fmla="*/ 150 h 464"/>
                  <a:gd name="T78" fmla="*/ 31 w 606"/>
                  <a:gd name="T79" fmla="*/ 167 h 464"/>
                  <a:gd name="T80" fmla="*/ 74 w 606"/>
                  <a:gd name="T81" fmla="*/ 177 h 464"/>
                  <a:gd name="T82" fmla="*/ 159 w 606"/>
                  <a:gd name="T83" fmla="*/ 212 h 464"/>
                  <a:gd name="T84" fmla="*/ 172 w 606"/>
                  <a:gd name="T85" fmla="*/ 267 h 464"/>
                  <a:gd name="T86" fmla="*/ 194 w 606"/>
                  <a:gd name="T87" fmla="*/ 269 h 464"/>
                  <a:gd name="T88" fmla="*/ 212 w 606"/>
                  <a:gd name="T89" fmla="*/ 286 h 464"/>
                  <a:gd name="T90" fmla="*/ 179 w 606"/>
                  <a:gd name="T91" fmla="*/ 304 h 464"/>
                  <a:gd name="T92" fmla="*/ 199 w 606"/>
                  <a:gd name="T93" fmla="*/ 297 h 464"/>
                  <a:gd name="T94" fmla="*/ 205 w 606"/>
                  <a:gd name="T95" fmla="*/ 321 h 464"/>
                  <a:gd name="T96" fmla="*/ 195 w 606"/>
                  <a:gd name="T97" fmla="*/ 356 h 464"/>
                  <a:gd name="T98" fmla="*/ 210 w 606"/>
                  <a:gd name="T99" fmla="*/ 398 h 464"/>
                  <a:gd name="T100" fmla="*/ 244 w 606"/>
                  <a:gd name="T101" fmla="*/ 445 h 464"/>
                  <a:gd name="T102" fmla="*/ 300 w 606"/>
                  <a:gd name="T103" fmla="*/ 447 h 464"/>
                  <a:gd name="T104" fmla="*/ 320 w 606"/>
                  <a:gd name="T105" fmla="*/ 398 h 464"/>
                  <a:gd name="T106" fmla="*/ 345 w 606"/>
                  <a:gd name="T107" fmla="*/ 363 h 464"/>
                  <a:gd name="T108" fmla="*/ 393 w 606"/>
                  <a:gd name="T109" fmla="*/ 347 h 464"/>
                  <a:gd name="T110" fmla="*/ 460 w 606"/>
                  <a:gd name="T111" fmla="*/ 320 h 464"/>
                  <a:gd name="T112" fmla="*/ 485 w 606"/>
                  <a:gd name="T113" fmla="*/ 295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06" h="464">
                    <a:moveTo>
                      <a:pt x="485" y="295"/>
                    </a:moveTo>
                    <a:cubicBezTo>
                      <a:pt x="480" y="291"/>
                      <a:pt x="474" y="292"/>
                      <a:pt x="468" y="290"/>
                    </a:cubicBezTo>
                    <a:cubicBezTo>
                      <a:pt x="473" y="282"/>
                      <a:pt x="477" y="271"/>
                      <a:pt x="487" y="284"/>
                    </a:cubicBezTo>
                    <a:cubicBezTo>
                      <a:pt x="493" y="291"/>
                      <a:pt x="499" y="291"/>
                      <a:pt x="506" y="290"/>
                    </a:cubicBezTo>
                    <a:cubicBezTo>
                      <a:pt x="511" y="289"/>
                      <a:pt x="510" y="284"/>
                      <a:pt x="510" y="281"/>
                    </a:cubicBezTo>
                    <a:cubicBezTo>
                      <a:pt x="511" y="273"/>
                      <a:pt x="510" y="268"/>
                      <a:pt x="501" y="265"/>
                    </a:cubicBezTo>
                    <a:cubicBezTo>
                      <a:pt x="495" y="264"/>
                      <a:pt x="489" y="259"/>
                      <a:pt x="487" y="251"/>
                    </a:cubicBezTo>
                    <a:cubicBezTo>
                      <a:pt x="492" y="252"/>
                      <a:pt x="495" y="254"/>
                      <a:pt x="498" y="254"/>
                    </a:cubicBezTo>
                    <a:cubicBezTo>
                      <a:pt x="502" y="254"/>
                      <a:pt x="508" y="256"/>
                      <a:pt x="508" y="249"/>
                    </a:cubicBezTo>
                    <a:cubicBezTo>
                      <a:pt x="508" y="243"/>
                      <a:pt x="504" y="241"/>
                      <a:pt x="499" y="242"/>
                    </a:cubicBezTo>
                    <a:cubicBezTo>
                      <a:pt x="494" y="242"/>
                      <a:pt x="489" y="242"/>
                      <a:pt x="484" y="243"/>
                    </a:cubicBezTo>
                    <a:cubicBezTo>
                      <a:pt x="481" y="243"/>
                      <a:pt x="479" y="243"/>
                      <a:pt x="478" y="241"/>
                    </a:cubicBezTo>
                    <a:cubicBezTo>
                      <a:pt x="476" y="237"/>
                      <a:pt x="480" y="237"/>
                      <a:pt x="481" y="236"/>
                    </a:cubicBezTo>
                    <a:cubicBezTo>
                      <a:pt x="485" y="230"/>
                      <a:pt x="490" y="227"/>
                      <a:pt x="495" y="232"/>
                    </a:cubicBezTo>
                    <a:cubicBezTo>
                      <a:pt x="502" y="239"/>
                      <a:pt x="510" y="235"/>
                      <a:pt x="517" y="236"/>
                    </a:cubicBezTo>
                    <a:cubicBezTo>
                      <a:pt x="519" y="236"/>
                      <a:pt x="522" y="235"/>
                      <a:pt x="522" y="232"/>
                    </a:cubicBezTo>
                    <a:cubicBezTo>
                      <a:pt x="523" y="230"/>
                      <a:pt x="523" y="226"/>
                      <a:pt x="520" y="225"/>
                    </a:cubicBezTo>
                    <a:cubicBezTo>
                      <a:pt x="517" y="223"/>
                      <a:pt x="512" y="224"/>
                      <a:pt x="512" y="219"/>
                    </a:cubicBezTo>
                    <a:cubicBezTo>
                      <a:pt x="519" y="213"/>
                      <a:pt x="530" y="223"/>
                      <a:pt x="537" y="213"/>
                    </a:cubicBezTo>
                    <a:cubicBezTo>
                      <a:pt x="529" y="209"/>
                      <a:pt x="521" y="208"/>
                      <a:pt x="517" y="200"/>
                    </a:cubicBezTo>
                    <a:cubicBezTo>
                      <a:pt x="520" y="200"/>
                      <a:pt x="522" y="200"/>
                      <a:pt x="524" y="200"/>
                    </a:cubicBezTo>
                    <a:cubicBezTo>
                      <a:pt x="531" y="200"/>
                      <a:pt x="537" y="197"/>
                      <a:pt x="537" y="189"/>
                    </a:cubicBezTo>
                    <a:cubicBezTo>
                      <a:pt x="536" y="182"/>
                      <a:pt x="533" y="176"/>
                      <a:pt x="523" y="177"/>
                    </a:cubicBezTo>
                    <a:cubicBezTo>
                      <a:pt x="515" y="178"/>
                      <a:pt x="510" y="172"/>
                      <a:pt x="503" y="166"/>
                    </a:cubicBezTo>
                    <a:cubicBezTo>
                      <a:pt x="516" y="163"/>
                      <a:pt x="527" y="164"/>
                      <a:pt x="538" y="164"/>
                    </a:cubicBezTo>
                    <a:cubicBezTo>
                      <a:pt x="541" y="164"/>
                      <a:pt x="547" y="166"/>
                      <a:pt x="546" y="159"/>
                    </a:cubicBezTo>
                    <a:cubicBezTo>
                      <a:pt x="545" y="154"/>
                      <a:pt x="541" y="152"/>
                      <a:pt x="537" y="153"/>
                    </a:cubicBezTo>
                    <a:cubicBezTo>
                      <a:pt x="531" y="155"/>
                      <a:pt x="527" y="154"/>
                      <a:pt x="523" y="150"/>
                    </a:cubicBezTo>
                    <a:cubicBezTo>
                      <a:pt x="524" y="144"/>
                      <a:pt x="531" y="148"/>
                      <a:pt x="533" y="144"/>
                    </a:cubicBezTo>
                    <a:cubicBezTo>
                      <a:pt x="525" y="138"/>
                      <a:pt x="518" y="139"/>
                      <a:pt x="512" y="145"/>
                    </a:cubicBezTo>
                    <a:cubicBezTo>
                      <a:pt x="506" y="122"/>
                      <a:pt x="533" y="121"/>
                      <a:pt x="537" y="104"/>
                    </a:cubicBezTo>
                    <a:cubicBezTo>
                      <a:pt x="551" y="105"/>
                      <a:pt x="548" y="85"/>
                      <a:pt x="561" y="86"/>
                    </a:cubicBezTo>
                    <a:cubicBezTo>
                      <a:pt x="558" y="73"/>
                      <a:pt x="569" y="77"/>
                      <a:pt x="575" y="74"/>
                    </a:cubicBezTo>
                    <a:cubicBezTo>
                      <a:pt x="585" y="68"/>
                      <a:pt x="598" y="70"/>
                      <a:pt x="606" y="59"/>
                    </a:cubicBezTo>
                    <a:cubicBezTo>
                      <a:pt x="599" y="56"/>
                      <a:pt x="592" y="51"/>
                      <a:pt x="585" y="51"/>
                    </a:cubicBezTo>
                    <a:cubicBezTo>
                      <a:pt x="575" y="50"/>
                      <a:pt x="563" y="45"/>
                      <a:pt x="555" y="55"/>
                    </a:cubicBezTo>
                    <a:cubicBezTo>
                      <a:pt x="548" y="65"/>
                      <a:pt x="540" y="63"/>
                      <a:pt x="531" y="59"/>
                    </a:cubicBezTo>
                    <a:cubicBezTo>
                      <a:pt x="525" y="55"/>
                      <a:pt x="522" y="57"/>
                      <a:pt x="516" y="61"/>
                    </a:cubicBezTo>
                    <a:cubicBezTo>
                      <a:pt x="509" y="67"/>
                      <a:pt x="499" y="72"/>
                      <a:pt x="491" y="77"/>
                    </a:cubicBezTo>
                    <a:cubicBezTo>
                      <a:pt x="494" y="71"/>
                      <a:pt x="499" y="67"/>
                      <a:pt x="502" y="62"/>
                    </a:cubicBezTo>
                    <a:cubicBezTo>
                      <a:pt x="504" y="58"/>
                      <a:pt x="511" y="53"/>
                      <a:pt x="505" y="48"/>
                    </a:cubicBezTo>
                    <a:cubicBezTo>
                      <a:pt x="500" y="44"/>
                      <a:pt x="495" y="45"/>
                      <a:pt x="489" y="50"/>
                    </a:cubicBezTo>
                    <a:cubicBezTo>
                      <a:pt x="480" y="57"/>
                      <a:pt x="470" y="62"/>
                      <a:pt x="458" y="62"/>
                    </a:cubicBezTo>
                    <a:cubicBezTo>
                      <a:pt x="459" y="53"/>
                      <a:pt x="469" y="59"/>
                      <a:pt x="469" y="51"/>
                    </a:cubicBezTo>
                    <a:cubicBezTo>
                      <a:pt x="446" y="48"/>
                      <a:pt x="424" y="50"/>
                      <a:pt x="401" y="56"/>
                    </a:cubicBezTo>
                    <a:cubicBezTo>
                      <a:pt x="404" y="52"/>
                      <a:pt x="407" y="51"/>
                      <a:pt x="410" y="50"/>
                    </a:cubicBezTo>
                    <a:cubicBezTo>
                      <a:pt x="439" y="39"/>
                      <a:pt x="470" y="49"/>
                      <a:pt x="499" y="38"/>
                    </a:cubicBezTo>
                    <a:cubicBezTo>
                      <a:pt x="503" y="37"/>
                      <a:pt x="509" y="37"/>
                      <a:pt x="509" y="32"/>
                    </a:cubicBezTo>
                    <a:cubicBezTo>
                      <a:pt x="509" y="27"/>
                      <a:pt x="504" y="26"/>
                      <a:pt x="500" y="26"/>
                    </a:cubicBezTo>
                    <a:cubicBezTo>
                      <a:pt x="488" y="28"/>
                      <a:pt x="479" y="24"/>
                      <a:pt x="471" y="16"/>
                    </a:cubicBezTo>
                    <a:cubicBezTo>
                      <a:pt x="467" y="13"/>
                      <a:pt x="462" y="14"/>
                      <a:pt x="457" y="14"/>
                    </a:cubicBezTo>
                    <a:cubicBezTo>
                      <a:pt x="451" y="13"/>
                      <a:pt x="446" y="13"/>
                      <a:pt x="441" y="12"/>
                    </a:cubicBezTo>
                    <a:cubicBezTo>
                      <a:pt x="408" y="7"/>
                      <a:pt x="375" y="0"/>
                      <a:pt x="344" y="19"/>
                    </a:cubicBezTo>
                    <a:cubicBezTo>
                      <a:pt x="341" y="20"/>
                      <a:pt x="339" y="19"/>
                      <a:pt x="337" y="19"/>
                    </a:cubicBezTo>
                    <a:cubicBezTo>
                      <a:pt x="312" y="13"/>
                      <a:pt x="289" y="21"/>
                      <a:pt x="265" y="21"/>
                    </a:cubicBezTo>
                    <a:cubicBezTo>
                      <a:pt x="264" y="27"/>
                      <a:pt x="271" y="26"/>
                      <a:pt x="270" y="30"/>
                    </a:cubicBezTo>
                    <a:cubicBezTo>
                      <a:pt x="266" y="35"/>
                      <a:pt x="259" y="29"/>
                      <a:pt x="255" y="35"/>
                    </a:cubicBezTo>
                    <a:cubicBezTo>
                      <a:pt x="257" y="39"/>
                      <a:pt x="264" y="39"/>
                      <a:pt x="263" y="46"/>
                    </a:cubicBezTo>
                    <a:cubicBezTo>
                      <a:pt x="253" y="46"/>
                      <a:pt x="245" y="41"/>
                      <a:pt x="236" y="37"/>
                    </a:cubicBezTo>
                    <a:cubicBezTo>
                      <a:pt x="231" y="34"/>
                      <a:pt x="224" y="32"/>
                      <a:pt x="220" y="36"/>
                    </a:cubicBezTo>
                    <a:cubicBezTo>
                      <a:pt x="215" y="43"/>
                      <a:pt x="227" y="42"/>
                      <a:pt x="228" y="48"/>
                    </a:cubicBezTo>
                    <a:cubicBezTo>
                      <a:pt x="219" y="54"/>
                      <a:pt x="213" y="48"/>
                      <a:pt x="207" y="44"/>
                    </a:cubicBezTo>
                    <a:cubicBezTo>
                      <a:pt x="200" y="38"/>
                      <a:pt x="195" y="34"/>
                      <a:pt x="198" y="48"/>
                    </a:cubicBezTo>
                    <a:cubicBezTo>
                      <a:pt x="198" y="53"/>
                      <a:pt x="196" y="56"/>
                      <a:pt x="192" y="56"/>
                    </a:cubicBezTo>
                    <a:cubicBezTo>
                      <a:pt x="188" y="56"/>
                      <a:pt x="189" y="51"/>
                      <a:pt x="189" y="49"/>
                    </a:cubicBezTo>
                    <a:cubicBezTo>
                      <a:pt x="189" y="45"/>
                      <a:pt x="186" y="39"/>
                      <a:pt x="184" y="39"/>
                    </a:cubicBezTo>
                    <a:cubicBezTo>
                      <a:pt x="170" y="40"/>
                      <a:pt x="151" y="39"/>
                      <a:pt x="143" y="47"/>
                    </a:cubicBezTo>
                    <a:cubicBezTo>
                      <a:pt x="137" y="53"/>
                      <a:pt x="134" y="49"/>
                      <a:pt x="131" y="50"/>
                    </a:cubicBezTo>
                    <a:cubicBezTo>
                      <a:pt x="125" y="52"/>
                      <a:pt x="113" y="43"/>
                      <a:pt x="115" y="57"/>
                    </a:cubicBezTo>
                    <a:cubicBezTo>
                      <a:pt x="116" y="68"/>
                      <a:pt x="111" y="69"/>
                      <a:pt x="103" y="68"/>
                    </a:cubicBezTo>
                    <a:cubicBezTo>
                      <a:pt x="82" y="66"/>
                      <a:pt x="67" y="77"/>
                      <a:pt x="52" y="90"/>
                    </a:cubicBezTo>
                    <a:cubicBezTo>
                      <a:pt x="58" y="92"/>
                      <a:pt x="64" y="92"/>
                      <a:pt x="70" y="92"/>
                    </a:cubicBezTo>
                    <a:cubicBezTo>
                      <a:pt x="76" y="93"/>
                      <a:pt x="79" y="97"/>
                      <a:pt x="76" y="102"/>
                    </a:cubicBezTo>
                    <a:cubicBezTo>
                      <a:pt x="71" y="109"/>
                      <a:pt x="65" y="117"/>
                      <a:pt x="55" y="116"/>
                    </a:cubicBezTo>
                    <a:cubicBezTo>
                      <a:pt x="37" y="115"/>
                      <a:pt x="21" y="126"/>
                      <a:pt x="4" y="128"/>
                    </a:cubicBezTo>
                    <a:cubicBezTo>
                      <a:pt x="1" y="129"/>
                      <a:pt x="0" y="131"/>
                      <a:pt x="0" y="134"/>
                    </a:cubicBezTo>
                    <a:cubicBezTo>
                      <a:pt x="0" y="136"/>
                      <a:pt x="0" y="140"/>
                      <a:pt x="3" y="140"/>
                    </a:cubicBezTo>
                    <a:cubicBezTo>
                      <a:pt x="16" y="139"/>
                      <a:pt x="25" y="152"/>
                      <a:pt x="38" y="150"/>
                    </a:cubicBezTo>
                    <a:cubicBezTo>
                      <a:pt x="33" y="161"/>
                      <a:pt x="23" y="156"/>
                      <a:pt x="16" y="159"/>
                    </a:cubicBezTo>
                    <a:cubicBezTo>
                      <a:pt x="18" y="168"/>
                      <a:pt x="31" y="160"/>
                      <a:pt x="31" y="167"/>
                    </a:cubicBezTo>
                    <a:cubicBezTo>
                      <a:pt x="30" y="174"/>
                      <a:pt x="34" y="174"/>
                      <a:pt x="37" y="177"/>
                    </a:cubicBezTo>
                    <a:cubicBezTo>
                      <a:pt x="50" y="190"/>
                      <a:pt x="63" y="178"/>
                      <a:pt x="74" y="177"/>
                    </a:cubicBezTo>
                    <a:cubicBezTo>
                      <a:pt x="97" y="174"/>
                      <a:pt x="117" y="178"/>
                      <a:pt x="135" y="189"/>
                    </a:cubicBezTo>
                    <a:cubicBezTo>
                      <a:pt x="144" y="194"/>
                      <a:pt x="155" y="203"/>
                      <a:pt x="159" y="212"/>
                    </a:cubicBezTo>
                    <a:cubicBezTo>
                      <a:pt x="164" y="226"/>
                      <a:pt x="183" y="238"/>
                      <a:pt x="171" y="258"/>
                    </a:cubicBezTo>
                    <a:cubicBezTo>
                      <a:pt x="170" y="260"/>
                      <a:pt x="171" y="265"/>
                      <a:pt x="172" y="267"/>
                    </a:cubicBezTo>
                    <a:cubicBezTo>
                      <a:pt x="175" y="271"/>
                      <a:pt x="180" y="270"/>
                      <a:pt x="183" y="267"/>
                    </a:cubicBezTo>
                    <a:cubicBezTo>
                      <a:pt x="188" y="264"/>
                      <a:pt x="193" y="262"/>
                      <a:pt x="194" y="269"/>
                    </a:cubicBezTo>
                    <a:cubicBezTo>
                      <a:pt x="195" y="277"/>
                      <a:pt x="199" y="278"/>
                      <a:pt x="205" y="278"/>
                    </a:cubicBezTo>
                    <a:cubicBezTo>
                      <a:pt x="210" y="278"/>
                      <a:pt x="211" y="282"/>
                      <a:pt x="212" y="286"/>
                    </a:cubicBezTo>
                    <a:cubicBezTo>
                      <a:pt x="202" y="287"/>
                      <a:pt x="191" y="277"/>
                      <a:pt x="184" y="292"/>
                    </a:cubicBezTo>
                    <a:cubicBezTo>
                      <a:pt x="183" y="296"/>
                      <a:pt x="174" y="298"/>
                      <a:pt x="179" y="304"/>
                    </a:cubicBezTo>
                    <a:cubicBezTo>
                      <a:pt x="184" y="310"/>
                      <a:pt x="192" y="313"/>
                      <a:pt x="200" y="310"/>
                    </a:cubicBezTo>
                    <a:cubicBezTo>
                      <a:pt x="209" y="306"/>
                      <a:pt x="200" y="301"/>
                      <a:pt x="199" y="297"/>
                    </a:cubicBezTo>
                    <a:cubicBezTo>
                      <a:pt x="213" y="296"/>
                      <a:pt x="217" y="298"/>
                      <a:pt x="217" y="306"/>
                    </a:cubicBezTo>
                    <a:cubicBezTo>
                      <a:pt x="218" y="314"/>
                      <a:pt x="216" y="320"/>
                      <a:pt x="205" y="321"/>
                    </a:cubicBezTo>
                    <a:cubicBezTo>
                      <a:pt x="192" y="322"/>
                      <a:pt x="188" y="340"/>
                      <a:pt x="196" y="351"/>
                    </a:cubicBezTo>
                    <a:cubicBezTo>
                      <a:pt x="199" y="354"/>
                      <a:pt x="197" y="355"/>
                      <a:pt x="195" y="356"/>
                    </a:cubicBezTo>
                    <a:cubicBezTo>
                      <a:pt x="191" y="358"/>
                      <a:pt x="191" y="364"/>
                      <a:pt x="192" y="365"/>
                    </a:cubicBezTo>
                    <a:cubicBezTo>
                      <a:pt x="206" y="371"/>
                      <a:pt x="202" y="388"/>
                      <a:pt x="210" y="398"/>
                    </a:cubicBezTo>
                    <a:cubicBezTo>
                      <a:pt x="216" y="406"/>
                      <a:pt x="224" y="414"/>
                      <a:pt x="227" y="426"/>
                    </a:cubicBezTo>
                    <a:cubicBezTo>
                      <a:pt x="228" y="434"/>
                      <a:pt x="237" y="443"/>
                      <a:pt x="244" y="445"/>
                    </a:cubicBezTo>
                    <a:cubicBezTo>
                      <a:pt x="256" y="448"/>
                      <a:pt x="267" y="454"/>
                      <a:pt x="278" y="458"/>
                    </a:cubicBezTo>
                    <a:cubicBezTo>
                      <a:pt x="292" y="464"/>
                      <a:pt x="296" y="461"/>
                      <a:pt x="300" y="447"/>
                    </a:cubicBezTo>
                    <a:cubicBezTo>
                      <a:pt x="304" y="434"/>
                      <a:pt x="299" y="418"/>
                      <a:pt x="315" y="409"/>
                    </a:cubicBezTo>
                    <a:cubicBezTo>
                      <a:pt x="318" y="407"/>
                      <a:pt x="318" y="402"/>
                      <a:pt x="320" y="398"/>
                    </a:cubicBezTo>
                    <a:cubicBezTo>
                      <a:pt x="321" y="390"/>
                      <a:pt x="320" y="381"/>
                      <a:pt x="328" y="376"/>
                    </a:cubicBezTo>
                    <a:cubicBezTo>
                      <a:pt x="334" y="371"/>
                      <a:pt x="344" y="374"/>
                      <a:pt x="345" y="363"/>
                    </a:cubicBezTo>
                    <a:cubicBezTo>
                      <a:pt x="346" y="363"/>
                      <a:pt x="348" y="362"/>
                      <a:pt x="349" y="363"/>
                    </a:cubicBezTo>
                    <a:cubicBezTo>
                      <a:pt x="371" y="369"/>
                      <a:pt x="381" y="365"/>
                      <a:pt x="393" y="347"/>
                    </a:cubicBezTo>
                    <a:cubicBezTo>
                      <a:pt x="398" y="340"/>
                      <a:pt x="403" y="331"/>
                      <a:pt x="409" y="330"/>
                    </a:cubicBezTo>
                    <a:cubicBezTo>
                      <a:pt x="426" y="327"/>
                      <a:pt x="444" y="326"/>
                      <a:pt x="460" y="320"/>
                    </a:cubicBezTo>
                    <a:cubicBezTo>
                      <a:pt x="475" y="314"/>
                      <a:pt x="490" y="308"/>
                      <a:pt x="506" y="297"/>
                    </a:cubicBezTo>
                    <a:cubicBezTo>
                      <a:pt x="497" y="296"/>
                      <a:pt x="489" y="298"/>
                      <a:pt x="485" y="29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55F89BF1-DCC6-B341-EB19-DAD75A479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84558" y="4317044"/>
                <a:ext cx="968899" cy="735770"/>
              </a:xfrm>
              <a:custGeom>
                <a:avLst/>
                <a:gdLst>
                  <a:gd name="T0" fmla="*/ 359 w 406"/>
                  <a:gd name="T1" fmla="*/ 107 h 308"/>
                  <a:gd name="T2" fmla="*/ 342 w 406"/>
                  <a:gd name="T3" fmla="*/ 91 h 308"/>
                  <a:gd name="T4" fmla="*/ 333 w 406"/>
                  <a:gd name="T5" fmla="*/ 83 h 308"/>
                  <a:gd name="T6" fmla="*/ 321 w 406"/>
                  <a:gd name="T7" fmla="*/ 46 h 308"/>
                  <a:gd name="T8" fmla="*/ 316 w 406"/>
                  <a:gd name="T9" fmla="*/ 39 h 308"/>
                  <a:gd name="T10" fmla="*/ 303 w 406"/>
                  <a:gd name="T11" fmla="*/ 21 h 308"/>
                  <a:gd name="T12" fmla="*/ 294 w 406"/>
                  <a:gd name="T13" fmla="*/ 0 h 308"/>
                  <a:gd name="T14" fmla="*/ 285 w 406"/>
                  <a:gd name="T15" fmla="*/ 42 h 308"/>
                  <a:gd name="T16" fmla="*/ 278 w 406"/>
                  <a:gd name="T17" fmla="*/ 65 h 308"/>
                  <a:gd name="T18" fmla="*/ 263 w 406"/>
                  <a:gd name="T19" fmla="*/ 68 h 308"/>
                  <a:gd name="T20" fmla="*/ 251 w 406"/>
                  <a:gd name="T21" fmla="*/ 61 h 308"/>
                  <a:gd name="T22" fmla="*/ 236 w 406"/>
                  <a:gd name="T23" fmla="*/ 18 h 308"/>
                  <a:gd name="T24" fmla="*/ 236 w 406"/>
                  <a:gd name="T25" fmla="*/ 15 h 308"/>
                  <a:gd name="T26" fmla="*/ 210 w 406"/>
                  <a:gd name="T27" fmla="*/ 13 h 308"/>
                  <a:gd name="T28" fmla="*/ 166 w 406"/>
                  <a:gd name="T29" fmla="*/ 33 h 308"/>
                  <a:gd name="T30" fmla="*/ 146 w 406"/>
                  <a:gd name="T31" fmla="*/ 37 h 308"/>
                  <a:gd name="T32" fmla="*/ 132 w 406"/>
                  <a:gd name="T33" fmla="*/ 33 h 308"/>
                  <a:gd name="T34" fmla="*/ 112 w 406"/>
                  <a:gd name="T35" fmla="*/ 51 h 308"/>
                  <a:gd name="T36" fmla="*/ 94 w 406"/>
                  <a:gd name="T37" fmla="*/ 62 h 308"/>
                  <a:gd name="T38" fmla="*/ 90 w 406"/>
                  <a:gd name="T39" fmla="*/ 79 h 308"/>
                  <a:gd name="T40" fmla="*/ 36 w 406"/>
                  <a:gd name="T41" fmla="*/ 104 h 308"/>
                  <a:gd name="T42" fmla="*/ 5 w 406"/>
                  <a:gd name="T43" fmla="*/ 132 h 308"/>
                  <a:gd name="T44" fmla="*/ 7 w 406"/>
                  <a:gd name="T45" fmla="*/ 158 h 308"/>
                  <a:gd name="T46" fmla="*/ 10 w 406"/>
                  <a:gd name="T47" fmla="*/ 182 h 308"/>
                  <a:gd name="T48" fmla="*/ 19 w 406"/>
                  <a:gd name="T49" fmla="*/ 245 h 308"/>
                  <a:gd name="T50" fmla="*/ 22 w 406"/>
                  <a:gd name="T51" fmla="*/ 251 h 308"/>
                  <a:gd name="T52" fmla="*/ 51 w 406"/>
                  <a:gd name="T53" fmla="*/ 257 h 308"/>
                  <a:gd name="T54" fmla="*/ 75 w 406"/>
                  <a:gd name="T55" fmla="*/ 247 h 308"/>
                  <a:gd name="T56" fmla="*/ 118 w 406"/>
                  <a:gd name="T57" fmla="*/ 234 h 308"/>
                  <a:gd name="T58" fmla="*/ 164 w 406"/>
                  <a:gd name="T59" fmla="*/ 222 h 308"/>
                  <a:gd name="T60" fmla="*/ 205 w 406"/>
                  <a:gd name="T61" fmla="*/ 228 h 308"/>
                  <a:gd name="T62" fmla="*/ 211 w 406"/>
                  <a:gd name="T63" fmla="*/ 233 h 308"/>
                  <a:gd name="T64" fmla="*/ 244 w 406"/>
                  <a:gd name="T65" fmla="*/ 243 h 308"/>
                  <a:gd name="T66" fmla="*/ 241 w 406"/>
                  <a:gd name="T67" fmla="*/ 259 h 308"/>
                  <a:gd name="T68" fmla="*/ 252 w 406"/>
                  <a:gd name="T69" fmla="*/ 263 h 308"/>
                  <a:gd name="T70" fmla="*/ 258 w 406"/>
                  <a:gd name="T71" fmla="*/ 266 h 308"/>
                  <a:gd name="T72" fmla="*/ 267 w 406"/>
                  <a:gd name="T73" fmla="*/ 277 h 308"/>
                  <a:gd name="T74" fmla="*/ 308 w 406"/>
                  <a:gd name="T75" fmla="*/ 301 h 308"/>
                  <a:gd name="T76" fmla="*/ 329 w 406"/>
                  <a:gd name="T77" fmla="*/ 303 h 308"/>
                  <a:gd name="T78" fmla="*/ 334 w 406"/>
                  <a:gd name="T79" fmla="*/ 303 h 308"/>
                  <a:gd name="T80" fmla="*/ 367 w 406"/>
                  <a:gd name="T81" fmla="*/ 289 h 308"/>
                  <a:gd name="T82" fmla="*/ 369 w 406"/>
                  <a:gd name="T83" fmla="*/ 283 h 308"/>
                  <a:gd name="T84" fmla="*/ 387 w 406"/>
                  <a:gd name="T85" fmla="*/ 238 h 308"/>
                  <a:gd name="T86" fmla="*/ 405 w 406"/>
                  <a:gd name="T87" fmla="*/ 186 h 308"/>
                  <a:gd name="T88" fmla="*/ 388 w 406"/>
                  <a:gd name="T89" fmla="*/ 142 h 308"/>
                  <a:gd name="T90" fmla="*/ 359 w 406"/>
                  <a:gd name="T91" fmla="*/ 107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06" h="308">
                    <a:moveTo>
                      <a:pt x="359" y="107"/>
                    </a:moveTo>
                    <a:cubicBezTo>
                      <a:pt x="355" y="100"/>
                      <a:pt x="350" y="94"/>
                      <a:pt x="342" y="91"/>
                    </a:cubicBezTo>
                    <a:cubicBezTo>
                      <a:pt x="338" y="90"/>
                      <a:pt x="334" y="89"/>
                      <a:pt x="333" y="83"/>
                    </a:cubicBezTo>
                    <a:cubicBezTo>
                      <a:pt x="330" y="71"/>
                      <a:pt x="325" y="58"/>
                      <a:pt x="321" y="46"/>
                    </a:cubicBezTo>
                    <a:cubicBezTo>
                      <a:pt x="320" y="42"/>
                      <a:pt x="319" y="39"/>
                      <a:pt x="316" y="39"/>
                    </a:cubicBezTo>
                    <a:cubicBezTo>
                      <a:pt x="301" y="40"/>
                      <a:pt x="303" y="30"/>
                      <a:pt x="303" y="21"/>
                    </a:cubicBezTo>
                    <a:cubicBezTo>
                      <a:pt x="303" y="13"/>
                      <a:pt x="297" y="8"/>
                      <a:pt x="294" y="0"/>
                    </a:cubicBezTo>
                    <a:cubicBezTo>
                      <a:pt x="284" y="14"/>
                      <a:pt x="284" y="28"/>
                      <a:pt x="285" y="42"/>
                    </a:cubicBezTo>
                    <a:cubicBezTo>
                      <a:pt x="286" y="51"/>
                      <a:pt x="283" y="58"/>
                      <a:pt x="278" y="65"/>
                    </a:cubicBezTo>
                    <a:cubicBezTo>
                      <a:pt x="274" y="72"/>
                      <a:pt x="268" y="73"/>
                      <a:pt x="263" y="68"/>
                    </a:cubicBezTo>
                    <a:cubicBezTo>
                      <a:pt x="260" y="64"/>
                      <a:pt x="255" y="63"/>
                      <a:pt x="251" y="61"/>
                    </a:cubicBezTo>
                    <a:cubicBezTo>
                      <a:pt x="226" y="51"/>
                      <a:pt x="223" y="42"/>
                      <a:pt x="236" y="18"/>
                    </a:cubicBezTo>
                    <a:cubicBezTo>
                      <a:pt x="237" y="18"/>
                      <a:pt x="236" y="16"/>
                      <a:pt x="236" y="15"/>
                    </a:cubicBezTo>
                    <a:cubicBezTo>
                      <a:pt x="228" y="13"/>
                      <a:pt x="219" y="16"/>
                      <a:pt x="210" y="13"/>
                    </a:cubicBezTo>
                    <a:cubicBezTo>
                      <a:pt x="192" y="6"/>
                      <a:pt x="172" y="16"/>
                      <a:pt x="166" y="33"/>
                    </a:cubicBezTo>
                    <a:cubicBezTo>
                      <a:pt x="161" y="46"/>
                      <a:pt x="155" y="48"/>
                      <a:pt x="146" y="37"/>
                    </a:cubicBezTo>
                    <a:cubicBezTo>
                      <a:pt x="141" y="32"/>
                      <a:pt x="137" y="29"/>
                      <a:pt x="132" y="33"/>
                    </a:cubicBezTo>
                    <a:cubicBezTo>
                      <a:pt x="126" y="39"/>
                      <a:pt x="118" y="44"/>
                      <a:pt x="112" y="51"/>
                    </a:cubicBezTo>
                    <a:cubicBezTo>
                      <a:pt x="108" y="55"/>
                      <a:pt x="110" y="76"/>
                      <a:pt x="94" y="62"/>
                    </a:cubicBezTo>
                    <a:cubicBezTo>
                      <a:pt x="91" y="68"/>
                      <a:pt x="95" y="74"/>
                      <a:pt x="90" y="79"/>
                    </a:cubicBezTo>
                    <a:cubicBezTo>
                      <a:pt x="75" y="94"/>
                      <a:pt x="56" y="99"/>
                      <a:pt x="36" y="104"/>
                    </a:cubicBezTo>
                    <a:cubicBezTo>
                      <a:pt x="22" y="107"/>
                      <a:pt x="11" y="118"/>
                      <a:pt x="5" y="132"/>
                    </a:cubicBezTo>
                    <a:cubicBezTo>
                      <a:pt x="0" y="143"/>
                      <a:pt x="11" y="151"/>
                      <a:pt x="7" y="158"/>
                    </a:cubicBezTo>
                    <a:cubicBezTo>
                      <a:pt x="1" y="168"/>
                      <a:pt x="8" y="174"/>
                      <a:pt x="10" y="182"/>
                    </a:cubicBezTo>
                    <a:cubicBezTo>
                      <a:pt x="16" y="202"/>
                      <a:pt x="36" y="221"/>
                      <a:pt x="19" y="245"/>
                    </a:cubicBezTo>
                    <a:cubicBezTo>
                      <a:pt x="17" y="247"/>
                      <a:pt x="20" y="250"/>
                      <a:pt x="22" y="251"/>
                    </a:cubicBezTo>
                    <a:cubicBezTo>
                      <a:pt x="30" y="260"/>
                      <a:pt x="40" y="263"/>
                      <a:pt x="51" y="257"/>
                    </a:cubicBezTo>
                    <a:cubicBezTo>
                      <a:pt x="59" y="253"/>
                      <a:pt x="67" y="245"/>
                      <a:pt x="75" y="247"/>
                    </a:cubicBezTo>
                    <a:cubicBezTo>
                      <a:pt x="92" y="250"/>
                      <a:pt x="105" y="243"/>
                      <a:pt x="118" y="234"/>
                    </a:cubicBezTo>
                    <a:cubicBezTo>
                      <a:pt x="132" y="225"/>
                      <a:pt x="149" y="229"/>
                      <a:pt x="164" y="222"/>
                    </a:cubicBezTo>
                    <a:cubicBezTo>
                      <a:pt x="178" y="215"/>
                      <a:pt x="192" y="224"/>
                      <a:pt x="205" y="228"/>
                    </a:cubicBezTo>
                    <a:cubicBezTo>
                      <a:pt x="207" y="229"/>
                      <a:pt x="209" y="230"/>
                      <a:pt x="211" y="233"/>
                    </a:cubicBezTo>
                    <a:cubicBezTo>
                      <a:pt x="223" y="257"/>
                      <a:pt x="223" y="257"/>
                      <a:pt x="244" y="243"/>
                    </a:cubicBezTo>
                    <a:cubicBezTo>
                      <a:pt x="246" y="249"/>
                      <a:pt x="242" y="254"/>
                      <a:pt x="241" y="259"/>
                    </a:cubicBezTo>
                    <a:cubicBezTo>
                      <a:pt x="245" y="262"/>
                      <a:pt x="256" y="243"/>
                      <a:pt x="252" y="263"/>
                    </a:cubicBezTo>
                    <a:cubicBezTo>
                      <a:pt x="252" y="267"/>
                      <a:pt x="256" y="265"/>
                      <a:pt x="258" y="266"/>
                    </a:cubicBezTo>
                    <a:cubicBezTo>
                      <a:pt x="263" y="268"/>
                      <a:pt x="266" y="272"/>
                      <a:pt x="267" y="277"/>
                    </a:cubicBezTo>
                    <a:cubicBezTo>
                      <a:pt x="269" y="290"/>
                      <a:pt x="297" y="308"/>
                      <a:pt x="308" y="301"/>
                    </a:cubicBezTo>
                    <a:cubicBezTo>
                      <a:pt x="317" y="295"/>
                      <a:pt x="322" y="297"/>
                      <a:pt x="329" y="303"/>
                    </a:cubicBezTo>
                    <a:cubicBezTo>
                      <a:pt x="331" y="305"/>
                      <a:pt x="332" y="304"/>
                      <a:pt x="334" y="303"/>
                    </a:cubicBezTo>
                    <a:cubicBezTo>
                      <a:pt x="345" y="298"/>
                      <a:pt x="354" y="288"/>
                      <a:pt x="367" y="289"/>
                    </a:cubicBezTo>
                    <a:cubicBezTo>
                      <a:pt x="368" y="289"/>
                      <a:pt x="369" y="285"/>
                      <a:pt x="369" y="283"/>
                    </a:cubicBezTo>
                    <a:cubicBezTo>
                      <a:pt x="371" y="266"/>
                      <a:pt x="378" y="251"/>
                      <a:pt x="387" y="238"/>
                    </a:cubicBezTo>
                    <a:cubicBezTo>
                      <a:pt x="399" y="222"/>
                      <a:pt x="403" y="205"/>
                      <a:pt x="405" y="186"/>
                    </a:cubicBezTo>
                    <a:cubicBezTo>
                      <a:pt x="406" y="170"/>
                      <a:pt x="400" y="152"/>
                      <a:pt x="388" y="142"/>
                    </a:cubicBezTo>
                    <a:cubicBezTo>
                      <a:pt x="377" y="131"/>
                      <a:pt x="367" y="120"/>
                      <a:pt x="359" y="10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5732AAA8-BA8F-A400-CA33-F8506CFA5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9711" y="1349709"/>
                <a:ext cx="700733" cy="398880"/>
              </a:xfrm>
              <a:custGeom>
                <a:avLst/>
                <a:gdLst>
                  <a:gd name="T0" fmla="*/ 69 w 294"/>
                  <a:gd name="T1" fmla="*/ 108 h 167"/>
                  <a:gd name="T2" fmla="*/ 41 w 294"/>
                  <a:gd name="T3" fmla="*/ 107 h 167"/>
                  <a:gd name="T4" fmla="*/ 32 w 294"/>
                  <a:gd name="T5" fmla="*/ 118 h 167"/>
                  <a:gd name="T6" fmla="*/ 44 w 294"/>
                  <a:gd name="T7" fmla="*/ 121 h 167"/>
                  <a:gd name="T8" fmla="*/ 54 w 294"/>
                  <a:gd name="T9" fmla="*/ 119 h 167"/>
                  <a:gd name="T10" fmla="*/ 55 w 294"/>
                  <a:gd name="T11" fmla="*/ 130 h 167"/>
                  <a:gd name="T12" fmla="*/ 59 w 294"/>
                  <a:gd name="T13" fmla="*/ 139 h 167"/>
                  <a:gd name="T14" fmla="*/ 50 w 294"/>
                  <a:gd name="T15" fmla="*/ 134 h 167"/>
                  <a:gd name="T16" fmla="*/ 43 w 294"/>
                  <a:gd name="T17" fmla="*/ 129 h 167"/>
                  <a:gd name="T18" fmla="*/ 27 w 294"/>
                  <a:gd name="T19" fmla="*/ 130 h 167"/>
                  <a:gd name="T20" fmla="*/ 33 w 294"/>
                  <a:gd name="T21" fmla="*/ 142 h 167"/>
                  <a:gd name="T22" fmla="*/ 9 w 294"/>
                  <a:gd name="T23" fmla="*/ 153 h 167"/>
                  <a:gd name="T24" fmla="*/ 42 w 294"/>
                  <a:gd name="T25" fmla="*/ 156 h 167"/>
                  <a:gd name="T26" fmla="*/ 63 w 294"/>
                  <a:gd name="T27" fmla="*/ 156 h 167"/>
                  <a:gd name="T28" fmla="*/ 87 w 294"/>
                  <a:gd name="T29" fmla="*/ 155 h 167"/>
                  <a:gd name="T30" fmla="*/ 125 w 294"/>
                  <a:gd name="T31" fmla="*/ 154 h 167"/>
                  <a:gd name="T32" fmla="*/ 127 w 294"/>
                  <a:gd name="T33" fmla="*/ 149 h 167"/>
                  <a:gd name="T34" fmla="*/ 122 w 294"/>
                  <a:gd name="T35" fmla="*/ 146 h 167"/>
                  <a:gd name="T36" fmla="*/ 85 w 294"/>
                  <a:gd name="T37" fmla="*/ 142 h 167"/>
                  <a:gd name="T38" fmla="*/ 103 w 294"/>
                  <a:gd name="T39" fmla="*/ 136 h 167"/>
                  <a:gd name="T40" fmla="*/ 149 w 294"/>
                  <a:gd name="T41" fmla="*/ 119 h 167"/>
                  <a:gd name="T42" fmla="*/ 158 w 294"/>
                  <a:gd name="T43" fmla="*/ 110 h 167"/>
                  <a:gd name="T44" fmla="*/ 152 w 294"/>
                  <a:gd name="T45" fmla="*/ 100 h 167"/>
                  <a:gd name="T46" fmla="*/ 133 w 294"/>
                  <a:gd name="T47" fmla="*/ 96 h 167"/>
                  <a:gd name="T48" fmla="*/ 262 w 294"/>
                  <a:gd name="T49" fmla="*/ 47 h 167"/>
                  <a:gd name="T50" fmla="*/ 234 w 294"/>
                  <a:gd name="T51" fmla="*/ 41 h 167"/>
                  <a:gd name="T52" fmla="*/ 294 w 294"/>
                  <a:gd name="T53" fmla="*/ 22 h 167"/>
                  <a:gd name="T54" fmla="*/ 273 w 294"/>
                  <a:gd name="T55" fmla="*/ 15 h 167"/>
                  <a:gd name="T56" fmla="*/ 261 w 294"/>
                  <a:gd name="T57" fmla="*/ 10 h 167"/>
                  <a:gd name="T58" fmla="*/ 229 w 294"/>
                  <a:gd name="T59" fmla="*/ 6 h 167"/>
                  <a:gd name="T60" fmla="*/ 201 w 294"/>
                  <a:gd name="T61" fmla="*/ 4 h 167"/>
                  <a:gd name="T62" fmla="*/ 169 w 294"/>
                  <a:gd name="T63" fmla="*/ 10 h 167"/>
                  <a:gd name="T64" fmla="*/ 131 w 294"/>
                  <a:gd name="T65" fmla="*/ 10 h 167"/>
                  <a:gd name="T66" fmla="*/ 124 w 294"/>
                  <a:gd name="T67" fmla="*/ 10 h 167"/>
                  <a:gd name="T68" fmla="*/ 98 w 294"/>
                  <a:gd name="T69" fmla="*/ 13 h 167"/>
                  <a:gd name="T70" fmla="*/ 63 w 294"/>
                  <a:gd name="T71" fmla="*/ 21 h 167"/>
                  <a:gd name="T72" fmla="*/ 42 w 294"/>
                  <a:gd name="T73" fmla="*/ 29 h 167"/>
                  <a:gd name="T74" fmla="*/ 31 w 294"/>
                  <a:gd name="T75" fmla="*/ 30 h 167"/>
                  <a:gd name="T76" fmla="*/ 6 w 294"/>
                  <a:gd name="T77" fmla="*/ 36 h 167"/>
                  <a:gd name="T78" fmla="*/ 6 w 294"/>
                  <a:gd name="T79" fmla="*/ 49 h 167"/>
                  <a:gd name="T80" fmla="*/ 27 w 294"/>
                  <a:gd name="T81" fmla="*/ 63 h 167"/>
                  <a:gd name="T82" fmla="*/ 51 w 294"/>
                  <a:gd name="T83" fmla="*/ 70 h 167"/>
                  <a:gd name="T84" fmla="*/ 46 w 294"/>
                  <a:gd name="T85" fmla="*/ 88 h 167"/>
                  <a:gd name="T86" fmla="*/ 69 w 294"/>
                  <a:gd name="T87" fmla="*/ 108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94" h="167">
                    <a:moveTo>
                      <a:pt x="69" y="108"/>
                    </a:moveTo>
                    <a:cubicBezTo>
                      <a:pt x="59" y="105"/>
                      <a:pt x="50" y="105"/>
                      <a:pt x="41" y="107"/>
                    </a:cubicBezTo>
                    <a:cubicBezTo>
                      <a:pt x="37" y="108"/>
                      <a:pt x="29" y="111"/>
                      <a:pt x="32" y="118"/>
                    </a:cubicBezTo>
                    <a:cubicBezTo>
                      <a:pt x="34" y="125"/>
                      <a:pt x="40" y="122"/>
                      <a:pt x="44" y="121"/>
                    </a:cubicBezTo>
                    <a:cubicBezTo>
                      <a:pt x="48" y="120"/>
                      <a:pt x="50" y="117"/>
                      <a:pt x="54" y="119"/>
                    </a:cubicBezTo>
                    <a:cubicBezTo>
                      <a:pt x="53" y="123"/>
                      <a:pt x="49" y="127"/>
                      <a:pt x="55" y="130"/>
                    </a:cubicBezTo>
                    <a:cubicBezTo>
                      <a:pt x="59" y="132"/>
                      <a:pt x="64" y="135"/>
                      <a:pt x="59" y="139"/>
                    </a:cubicBezTo>
                    <a:cubicBezTo>
                      <a:pt x="53" y="145"/>
                      <a:pt x="52" y="137"/>
                      <a:pt x="50" y="134"/>
                    </a:cubicBezTo>
                    <a:cubicBezTo>
                      <a:pt x="48" y="132"/>
                      <a:pt x="46" y="130"/>
                      <a:pt x="43" y="129"/>
                    </a:cubicBezTo>
                    <a:cubicBezTo>
                      <a:pt x="38" y="126"/>
                      <a:pt x="31" y="124"/>
                      <a:pt x="27" y="130"/>
                    </a:cubicBezTo>
                    <a:cubicBezTo>
                      <a:pt x="20" y="138"/>
                      <a:pt x="37" y="133"/>
                      <a:pt x="33" y="142"/>
                    </a:cubicBezTo>
                    <a:cubicBezTo>
                      <a:pt x="25" y="142"/>
                      <a:pt x="16" y="143"/>
                      <a:pt x="9" y="153"/>
                    </a:cubicBezTo>
                    <a:cubicBezTo>
                      <a:pt x="21" y="154"/>
                      <a:pt x="32" y="152"/>
                      <a:pt x="42" y="156"/>
                    </a:cubicBezTo>
                    <a:cubicBezTo>
                      <a:pt x="50" y="159"/>
                      <a:pt x="54" y="162"/>
                      <a:pt x="63" y="156"/>
                    </a:cubicBezTo>
                    <a:cubicBezTo>
                      <a:pt x="69" y="151"/>
                      <a:pt x="81" y="151"/>
                      <a:pt x="87" y="155"/>
                    </a:cubicBezTo>
                    <a:cubicBezTo>
                      <a:pt x="101" y="167"/>
                      <a:pt x="112" y="155"/>
                      <a:pt x="125" y="154"/>
                    </a:cubicBezTo>
                    <a:cubicBezTo>
                      <a:pt x="127" y="154"/>
                      <a:pt x="128" y="152"/>
                      <a:pt x="127" y="149"/>
                    </a:cubicBezTo>
                    <a:cubicBezTo>
                      <a:pt x="126" y="147"/>
                      <a:pt x="125" y="146"/>
                      <a:pt x="122" y="146"/>
                    </a:cubicBezTo>
                    <a:cubicBezTo>
                      <a:pt x="110" y="146"/>
                      <a:pt x="99" y="140"/>
                      <a:pt x="85" y="142"/>
                    </a:cubicBezTo>
                    <a:cubicBezTo>
                      <a:pt x="91" y="133"/>
                      <a:pt x="98" y="136"/>
                      <a:pt x="103" y="136"/>
                    </a:cubicBezTo>
                    <a:cubicBezTo>
                      <a:pt x="121" y="138"/>
                      <a:pt x="132" y="121"/>
                      <a:pt x="149" y="119"/>
                    </a:cubicBezTo>
                    <a:cubicBezTo>
                      <a:pt x="154" y="119"/>
                      <a:pt x="156" y="114"/>
                      <a:pt x="158" y="110"/>
                    </a:cubicBezTo>
                    <a:cubicBezTo>
                      <a:pt x="162" y="103"/>
                      <a:pt x="160" y="100"/>
                      <a:pt x="152" y="100"/>
                    </a:cubicBezTo>
                    <a:cubicBezTo>
                      <a:pt x="146" y="100"/>
                      <a:pt x="139" y="102"/>
                      <a:pt x="133" y="96"/>
                    </a:cubicBezTo>
                    <a:cubicBezTo>
                      <a:pt x="182" y="95"/>
                      <a:pt x="216" y="59"/>
                      <a:pt x="262" y="47"/>
                    </a:cubicBezTo>
                    <a:cubicBezTo>
                      <a:pt x="251" y="39"/>
                      <a:pt x="242" y="47"/>
                      <a:pt x="234" y="41"/>
                    </a:cubicBezTo>
                    <a:cubicBezTo>
                      <a:pt x="256" y="41"/>
                      <a:pt x="277" y="38"/>
                      <a:pt x="294" y="22"/>
                    </a:cubicBezTo>
                    <a:cubicBezTo>
                      <a:pt x="285" y="26"/>
                      <a:pt x="278" y="20"/>
                      <a:pt x="273" y="15"/>
                    </a:cubicBezTo>
                    <a:cubicBezTo>
                      <a:pt x="269" y="11"/>
                      <a:pt x="265" y="11"/>
                      <a:pt x="261" y="10"/>
                    </a:cubicBezTo>
                    <a:cubicBezTo>
                      <a:pt x="250" y="9"/>
                      <a:pt x="240" y="13"/>
                      <a:pt x="229" y="6"/>
                    </a:cubicBezTo>
                    <a:cubicBezTo>
                      <a:pt x="222" y="1"/>
                      <a:pt x="210" y="4"/>
                      <a:pt x="201" y="4"/>
                    </a:cubicBezTo>
                    <a:cubicBezTo>
                      <a:pt x="190" y="5"/>
                      <a:pt x="178" y="1"/>
                      <a:pt x="169" y="10"/>
                    </a:cubicBezTo>
                    <a:cubicBezTo>
                      <a:pt x="156" y="0"/>
                      <a:pt x="144" y="8"/>
                      <a:pt x="131" y="10"/>
                    </a:cubicBezTo>
                    <a:cubicBezTo>
                      <a:pt x="129" y="10"/>
                      <a:pt x="126" y="11"/>
                      <a:pt x="124" y="10"/>
                    </a:cubicBezTo>
                    <a:cubicBezTo>
                      <a:pt x="114" y="4"/>
                      <a:pt x="106" y="10"/>
                      <a:pt x="98" y="13"/>
                    </a:cubicBezTo>
                    <a:cubicBezTo>
                      <a:pt x="86" y="17"/>
                      <a:pt x="75" y="26"/>
                      <a:pt x="63" y="21"/>
                    </a:cubicBezTo>
                    <a:cubicBezTo>
                      <a:pt x="53" y="17"/>
                      <a:pt x="47" y="22"/>
                      <a:pt x="42" y="29"/>
                    </a:cubicBezTo>
                    <a:cubicBezTo>
                      <a:pt x="38" y="33"/>
                      <a:pt x="37" y="34"/>
                      <a:pt x="31" y="30"/>
                    </a:cubicBezTo>
                    <a:cubicBezTo>
                      <a:pt x="21" y="22"/>
                      <a:pt x="15" y="35"/>
                      <a:pt x="6" y="36"/>
                    </a:cubicBezTo>
                    <a:cubicBezTo>
                      <a:pt x="0" y="38"/>
                      <a:pt x="5" y="45"/>
                      <a:pt x="6" y="49"/>
                    </a:cubicBezTo>
                    <a:cubicBezTo>
                      <a:pt x="8" y="60"/>
                      <a:pt x="18" y="63"/>
                      <a:pt x="27" y="63"/>
                    </a:cubicBezTo>
                    <a:cubicBezTo>
                      <a:pt x="42" y="63"/>
                      <a:pt x="42" y="62"/>
                      <a:pt x="51" y="70"/>
                    </a:cubicBezTo>
                    <a:cubicBezTo>
                      <a:pt x="35" y="76"/>
                      <a:pt x="34" y="78"/>
                      <a:pt x="46" y="88"/>
                    </a:cubicBezTo>
                    <a:cubicBezTo>
                      <a:pt x="59" y="88"/>
                      <a:pt x="61" y="101"/>
                      <a:pt x="69" y="10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8">
                <a:extLst>
                  <a:ext uri="{FF2B5EF4-FFF2-40B4-BE49-F238E27FC236}">
                    <a16:creationId xmlns:a16="http://schemas.microsoft.com/office/drawing/2014/main" id="{71BB195B-966E-5A62-6880-BDE92975E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54" y="2065266"/>
                <a:ext cx="0" cy="2695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A8ABE129-C6AE-6D11-5107-B8CF7A045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7126" y="4059660"/>
                <a:ext cx="452782" cy="254690"/>
              </a:xfrm>
              <a:custGeom>
                <a:avLst/>
                <a:gdLst>
                  <a:gd name="T0" fmla="*/ 162 w 190"/>
                  <a:gd name="T1" fmla="*/ 61 h 107"/>
                  <a:gd name="T2" fmla="*/ 102 w 190"/>
                  <a:gd name="T3" fmla="*/ 28 h 107"/>
                  <a:gd name="T4" fmla="*/ 46 w 190"/>
                  <a:gd name="T5" fmla="*/ 30 h 107"/>
                  <a:gd name="T6" fmla="*/ 32 w 190"/>
                  <a:gd name="T7" fmla="*/ 22 h 107"/>
                  <a:gd name="T8" fmla="*/ 0 w 190"/>
                  <a:gd name="T9" fmla="*/ 12 h 107"/>
                  <a:gd name="T10" fmla="*/ 14 w 190"/>
                  <a:gd name="T11" fmla="*/ 33 h 107"/>
                  <a:gd name="T12" fmla="*/ 20 w 190"/>
                  <a:gd name="T13" fmla="*/ 39 h 107"/>
                  <a:gd name="T14" fmla="*/ 63 w 190"/>
                  <a:gd name="T15" fmla="*/ 51 h 107"/>
                  <a:gd name="T16" fmla="*/ 69 w 190"/>
                  <a:gd name="T17" fmla="*/ 76 h 107"/>
                  <a:gd name="T18" fmla="*/ 68 w 190"/>
                  <a:gd name="T19" fmla="*/ 83 h 107"/>
                  <a:gd name="T20" fmla="*/ 74 w 190"/>
                  <a:gd name="T21" fmla="*/ 84 h 107"/>
                  <a:gd name="T22" fmla="*/ 99 w 190"/>
                  <a:gd name="T23" fmla="*/ 89 h 107"/>
                  <a:gd name="T24" fmla="*/ 121 w 190"/>
                  <a:gd name="T25" fmla="*/ 88 h 107"/>
                  <a:gd name="T26" fmla="*/ 151 w 190"/>
                  <a:gd name="T27" fmla="*/ 89 h 107"/>
                  <a:gd name="T28" fmla="*/ 190 w 190"/>
                  <a:gd name="T29" fmla="*/ 107 h 107"/>
                  <a:gd name="T30" fmla="*/ 180 w 190"/>
                  <a:gd name="T31" fmla="*/ 93 h 107"/>
                  <a:gd name="T32" fmla="*/ 166 w 190"/>
                  <a:gd name="T33" fmla="*/ 66 h 107"/>
                  <a:gd name="T34" fmla="*/ 162 w 190"/>
                  <a:gd name="T35" fmla="*/ 6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0" h="107">
                    <a:moveTo>
                      <a:pt x="162" y="61"/>
                    </a:moveTo>
                    <a:cubicBezTo>
                      <a:pt x="142" y="49"/>
                      <a:pt x="125" y="34"/>
                      <a:pt x="102" y="28"/>
                    </a:cubicBezTo>
                    <a:cubicBezTo>
                      <a:pt x="83" y="22"/>
                      <a:pt x="65" y="8"/>
                      <a:pt x="46" y="30"/>
                    </a:cubicBezTo>
                    <a:cubicBezTo>
                      <a:pt x="40" y="37"/>
                      <a:pt x="34" y="30"/>
                      <a:pt x="32" y="22"/>
                    </a:cubicBezTo>
                    <a:cubicBezTo>
                      <a:pt x="28" y="3"/>
                      <a:pt x="17" y="0"/>
                      <a:pt x="0" y="12"/>
                    </a:cubicBezTo>
                    <a:cubicBezTo>
                      <a:pt x="4" y="19"/>
                      <a:pt x="17" y="20"/>
                      <a:pt x="14" y="33"/>
                    </a:cubicBezTo>
                    <a:cubicBezTo>
                      <a:pt x="13" y="35"/>
                      <a:pt x="15" y="40"/>
                      <a:pt x="20" y="39"/>
                    </a:cubicBezTo>
                    <a:cubicBezTo>
                      <a:pt x="36" y="37"/>
                      <a:pt x="49" y="47"/>
                      <a:pt x="63" y="51"/>
                    </a:cubicBezTo>
                    <a:cubicBezTo>
                      <a:pt x="76" y="55"/>
                      <a:pt x="78" y="67"/>
                      <a:pt x="69" y="76"/>
                    </a:cubicBezTo>
                    <a:cubicBezTo>
                      <a:pt x="68" y="78"/>
                      <a:pt x="66" y="80"/>
                      <a:pt x="68" y="83"/>
                    </a:cubicBezTo>
                    <a:cubicBezTo>
                      <a:pt x="69" y="86"/>
                      <a:pt x="72" y="84"/>
                      <a:pt x="74" y="84"/>
                    </a:cubicBezTo>
                    <a:cubicBezTo>
                      <a:pt x="83" y="82"/>
                      <a:pt x="91" y="82"/>
                      <a:pt x="99" y="89"/>
                    </a:cubicBezTo>
                    <a:cubicBezTo>
                      <a:pt x="104" y="95"/>
                      <a:pt x="114" y="95"/>
                      <a:pt x="121" y="88"/>
                    </a:cubicBezTo>
                    <a:cubicBezTo>
                      <a:pt x="133" y="77"/>
                      <a:pt x="142" y="75"/>
                      <a:pt x="151" y="89"/>
                    </a:cubicBezTo>
                    <a:cubicBezTo>
                      <a:pt x="161" y="103"/>
                      <a:pt x="175" y="105"/>
                      <a:pt x="190" y="107"/>
                    </a:cubicBezTo>
                    <a:cubicBezTo>
                      <a:pt x="190" y="99"/>
                      <a:pt x="184" y="97"/>
                      <a:pt x="180" y="93"/>
                    </a:cubicBezTo>
                    <a:cubicBezTo>
                      <a:pt x="172" y="85"/>
                      <a:pt x="159" y="81"/>
                      <a:pt x="166" y="66"/>
                    </a:cubicBezTo>
                    <a:cubicBezTo>
                      <a:pt x="168" y="63"/>
                      <a:pt x="164" y="62"/>
                      <a:pt x="162" y="6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0">
                <a:extLst>
                  <a:ext uri="{FF2B5EF4-FFF2-40B4-BE49-F238E27FC236}">
                    <a16:creationId xmlns:a16="http://schemas.microsoft.com/office/drawing/2014/main" id="{3770F854-A0F7-02BC-1F8B-C7AAF3D4C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0795" y="3892562"/>
                <a:ext cx="245256" cy="262775"/>
              </a:xfrm>
              <a:custGeom>
                <a:avLst/>
                <a:gdLst>
                  <a:gd name="T0" fmla="*/ 2 w 103"/>
                  <a:gd name="T1" fmla="*/ 56 h 110"/>
                  <a:gd name="T2" fmla="*/ 25 w 103"/>
                  <a:gd name="T3" fmla="*/ 102 h 110"/>
                  <a:gd name="T4" fmla="*/ 60 w 103"/>
                  <a:gd name="T5" fmla="*/ 107 h 110"/>
                  <a:gd name="T6" fmla="*/ 77 w 103"/>
                  <a:gd name="T7" fmla="*/ 96 h 110"/>
                  <a:gd name="T8" fmla="*/ 97 w 103"/>
                  <a:gd name="T9" fmla="*/ 62 h 110"/>
                  <a:gd name="T10" fmla="*/ 97 w 103"/>
                  <a:gd name="T11" fmla="*/ 52 h 110"/>
                  <a:gd name="T12" fmla="*/ 90 w 103"/>
                  <a:gd name="T13" fmla="*/ 29 h 110"/>
                  <a:gd name="T14" fmla="*/ 103 w 103"/>
                  <a:gd name="T15" fmla="*/ 17 h 110"/>
                  <a:gd name="T16" fmla="*/ 88 w 103"/>
                  <a:gd name="T17" fmla="*/ 7 h 110"/>
                  <a:gd name="T18" fmla="*/ 84 w 103"/>
                  <a:gd name="T19" fmla="*/ 3 h 110"/>
                  <a:gd name="T20" fmla="*/ 79 w 103"/>
                  <a:gd name="T21" fmla="*/ 2 h 110"/>
                  <a:gd name="T22" fmla="*/ 48 w 103"/>
                  <a:gd name="T23" fmla="*/ 29 h 110"/>
                  <a:gd name="T24" fmla="*/ 47 w 103"/>
                  <a:gd name="T25" fmla="*/ 30 h 110"/>
                  <a:gd name="T26" fmla="*/ 31 w 103"/>
                  <a:gd name="T27" fmla="*/ 42 h 110"/>
                  <a:gd name="T28" fmla="*/ 25 w 103"/>
                  <a:gd name="T29" fmla="*/ 47 h 110"/>
                  <a:gd name="T30" fmla="*/ 13 w 103"/>
                  <a:gd name="T31" fmla="*/ 51 h 110"/>
                  <a:gd name="T32" fmla="*/ 2 w 103"/>
                  <a:gd name="T33" fmla="*/ 56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3" h="110">
                    <a:moveTo>
                      <a:pt x="2" y="56"/>
                    </a:moveTo>
                    <a:cubicBezTo>
                      <a:pt x="0" y="65"/>
                      <a:pt x="17" y="100"/>
                      <a:pt x="25" y="102"/>
                    </a:cubicBezTo>
                    <a:cubicBezTo>
                      <a:pt x="38" y="105"/>
                      <a:pt x="52" y="101"/>
                      <a:pt x="60" y="107"/>
                    </a:cubicBezTo>
                    <a:cubicBezTo>
                      <a:pt x="74" y="110"/>
                      <a:pt x="75" y="103"/>
                      <a:pt x="77" y="96"/>
                    </a:cubicBezTo>
                    <a:cubicBezTo>
                      <a:pt x="82" y="84"/>
                      <a:pt x="84" y="70"/>
                      <a:pt x="97" y="62"/>
                    </a:cubicBezTo>
                    <a:cubicBezTo>
                      <a:pt x="103" y="59"/>
                      <a:pt x="101" y="56"/>
                      <a:pt x="97" y="52"/>
                    </a:cubicBezTo>
                    <a:cubicBezTo>
                      <a:pt x="90" y="46"/>
                      <a:pt x="87" y="38"/>
                      <a:pt x="90" y="29"/>
                    </a:cubicBezTo>
                    <a:cubicBezTo>
                      <a:pt x="93" y="23"/>
                      <a:pt x="103" y="24"/>
                      <a:pt x="103" y="17"/>
                    </a:cubicBezTo>
                    <a:cubicBezTo>
                      <a:pt x="103" y="7"/>
                      <a:pt x="89" y="17"/>
                      <a:pt x="88" y="7"/>
                    </a:cubicBezTo>
                    <a:cubicBezTo>
                      <a:pt x="88" y="5"/>
                      <a:pt x="86" y="4"/>
                      <a:pt x="84" y="3"/>
                    </a:cubicBezTo>
                    <a:cubicBezTo>
                      <a:pt x="83" y="1"/>
                      <a:pt x="80" y="0"/>
                      <a:pt x="79" y="2"/>
                    </a:cubicBezTo>
                    <a:cubicBezTo>
                      <a:pt x="72" y="15"/>
                      <a:pt x="62" y="24"/>
                      <a:pt x="48" y="29"/>
                    </a:cubicBezTo>
                    <a:cubicBezTo>
                      <a:pt x="48" y="29"/>
                      <a:pt x="47" y="30"/>
                      <a:pt x="47" y="30"/>
                    </a:cubicBezTo>
                    <a:cubicBezTo>
                      <a:pt x="45" y="38"/>
                      <a:pt x="40" y="43"/>
                      <a:pt x="31" y="42"/>
                    </a:cubicBezTo>
                    <a:cubicBezTo>
                      <a:pt x="28" y="42"/>
                      <a:pt x="26" y="43"/>
                      <a:pt x="25" y="47"/>
                    </a:cubicBezTo>
                    <a:cubicBezTo>
                      <a:pt x="24" y="55"/>
                      <a:pt x="20" y="56"/>
                      <a:pt x="13" y="51"/>
                    </a:cubicBezTo>
                    <a:cubicBezTo>
                      <a:pt x="7" y="48"/>
                      <a:pt x="4" y="51"/>
                      <a:pt x="2" y="5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1">
                <a:extLst>
                  <a:ext uri="{FF2B5EF4-FFF2-40B4-BE49-F238E27FC236}">
                    <a16:creationId xmlns:a16="http://schemas.microsoft.com/office/drawing/2014/main" id="{D7632600-A7DB-B5B3-17F9-CE0D43507C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5139" y="4343995"/>
                <a:ext cx="198092" cy="334196"/>
              </a:xfrm>
              <a:custGeom>
                <a:avLst/>
                <a:gdLst>
                  <a:gd name="T0" fmla="*/ 58 w 83"/>
                  <a:gd name="T1" fmla="*/ 8 h 140"/>
                  <a:gd name="T2" fmla="*/ 16 w 83"/>
                  <a:gd name="T3" fmla="*/ 39 h 140"/>
                  <a:gd name="T4" fmla="*/ 11 w 83"/>
                  <a:gd name="T5" fmla="*/ 47 h 140"/>
                  <a:gd name="T6" fmla="*/ 13 w 83"/>
                  <a:gd name="T7" fmla="*/ 76 h 140"/>
                  <a:gd name="T8" fmla="*/ 10 w 83"/>
                  <a:gd name="T9" fmla="*/ 88 h 140"/>
                  <a:gd name="T10" fmla="*/ 7 w 83"/>
                  <a:gd name="T11" fmla="*/ 127 h 140"/>
                  <a:gd name="T12" fmla="*/ 24 w 83"/>
                  <a:gd name="T13" fmla="*/ 140 h 140"/>
                  <a:gd name="T14" fmla="*/ 42 w 83"/>
                  <a:gd name="T15" fmla="*/ 128 h 140"/>
                  <a:gd name="T16" fmla="*/ 59 w 83"/>
                  <a:gd name="T17" fmla="*/ 74 h 140"/>
                  <a:gd name="T18" fmla="*/ 67 w 83"/>
                  <a:gd name="T19" fmla="*/ 41 h 140"/>
                  <a:gd name="T20" fmla="*/ 68 w 83"/>
                  <a:gd name="T21" fmla="*/ 9 h 140"/>
                  <a:gd name="T22" fmla="*/ 58 w 83"/>
                  <a:gd name="T23" fmla="*/ 8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" h="140">
                    <a:moveTo>
                      <a:pt x="58" y="8"/>
                    </a:moveTo>
                    <a:cubicBezTo>
                      <a:pt x="48" y="23"/>
                      <a:pt x="39" y="40"/>
                      <a:pt x="16" y="39"/>
                    </a:cubicBezTo>
                    <a:cubicBezTo>
                      <a:pt x="13" y="39"/>
                      <a:pt x="12" y="43"/>
                      <a:pt x="11" y="47"/>
                    </a:cubicBezTo>
                    <a:cubicBezTo>
                      <a:pt x="9" y="58"/>
                      <a:pt x="6" y="68"/>
                      <a:pt x="13" y="76"/>
                    </a:cubicBezTo>
                    <a:cubicBezTo>
                      <a:pt x="12" y="82"/>
                      <a:pt x="12" y="86"/>
                      <a:pt x="10" y="88"/>
                    </a:cubicBezTo>
                    <a:cubicBezTo>
                      <a:pt x="0" y="100"/>
                      <a:pt x="4" y="113"/>
                      <a:pt x="7" y="127"/>
                    </a:cubicBezTo>
                    <a:cubicBezTo>
                      <a:pt x="10" y="136"/>
                      <a:pt x="15" y="140"/>
                      <a:pt x="24" y="140"/>
                    </a:cubicBezTo>
                    <a:cubicBezTo>
                      <a:pt x="32" y="139"/>
                      <a:pt x="39" y="138"/>
                      <a:pt x="42" y="128"/>
                    </a:cubicBezTo>
                    <a:cubicBezTo>
                      <a:pt x="47" y="110"/>
                      <a:pt x="53" y="91"/>
                      <a:pt x="59" y="74"/>
                    </a:cubicBezTo>
                    <a:cubicBezTo>
                      <a:pt x="63" y="63"/>
                      <a:pt x="61" y="46"/>
                      <a:pt x="67" y="41"/>
                    </a:cubicBezTo>
                    <a:cubicBezTo>
                      <a:pt x="83" y="29"/>
                      <a:pt x="68" y="19"/>
                      <a:pt x="68" y="9"/>
                    </a:cubicBezTo>
                    <a:cubicBezTo>
                      <a:pt x="68" y="2"/>
                      <a:pt x="63" y="0"/>
                      <a:pt x="58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id="{FE34C2D3-D253-1378-9AD4-1E1439140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2097" y="1693337"/>
                <a:ext cx="429874" cy="304549"/>
              </a:xfrm>
              <a:custGeom>
                <a:avLst/>
                <a:gdLst>
                  <a:gd name="T0" fmla="*/ 25 w 180"/>
                  <a:gd name="T1" fmla="*/ 123 h 128"/>
                  <a:gd name="T2" fmla="*/ 29 w 180"/>
                  <a:gd name="T3" fmla="*/ 124 h 128"/>
                  <a:gd name="T4" fmla="*/ 49 w 180"/>
                  <a:gd name="T5" fmla="*/ 127 h 128"/>
                  <a:gd name="T6" fmla="*/ 57 w 180"/>
                  <a:gd name="T7" fmla="*/ 125 h 128"/>
                  <a:gd name="T8" fmla="*/ 53 w 180"/>
                  <a:gd name="T9" fmla="*/ 117 h 128"/>
                  <a:gd name="T10" fmla="*/ 48 w 180"/>
                  <a:gd name="T11" fmla="*/ 85 h 128"/>
                  <a:gd name="T12" fmla="*/ 79 w 180"/>
                  <a:gd name="T13" fmla="*/ 52 h 128"/>
                  <a:gd name="T14" fmla="*/ 160 w 180"/>
                  <a:gd name="T15" fmla="*/ 20 h 128"/>
                  <a:gd name="T16" fmla="*/ 175 w 180"/>
                  <a:gd name="T17" fmla="*/ 8 h 128"/>
                  <a:gd name="T18" fmla="*/ 153 w 180"/>
                  <a:gd name="T19" fmla="*/ 6 h 128"/>
                  <a:gd name="T20" fmla="*/ 112 w 180"/>
                  <a:gd name="T21" fmla="*/ 16 h 128"/>
                  <a:gd name="T22" fmla="*/ 76 w 180"/>
                  <a:gd name="T23" fmla="*/ 26 h 128"/>
                  <a:gd name="T24" fmla="*/ 51 w 180"/>
                  <a:gd name="T25" fmla="*/ 40 h 128"/>
                  <a:gd name="T26" fmla="*/ 19 w 180"/>
                  <a:gd name="T27" fmla="*/ 81 h 128"/>
                  <a:gd name="T28" fmla="*/ 14 w 180"/>
                  <a:gd name="T29" fmla="*/ 85 h 128"/>
                  <a:gd name="T30" fmla="*/ 0 w 180"/>
                  <a:gd name="T31" fmla="*/ 102 h 128"/>
                  <a:gd name="T32" fmla="*/ 25 w 180"/>
                  <a:gd name="T33" fmla="*/ 12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0" h="128">
                    <a:moveTo>
                      <a:pt x="25" y="123"/>
                    </a:moveTo>
                    <a:cubicBezTo>
                      <a:pt x="25" y="124"/>
                      <a:pt x="27" y="124"/>
                      <a:pt x="29" y="124"/>
                    </a:cubicBezTo>
                    <a:cubicBezTo>
                      <a:pt x="36" y="124"/>
                      <a:pt x="43" y="123"/>
                      <a:pt x="49" y="127"/>
                    </a:cubicBezTo>
                    <a:cubicBezTo>
                      <a:pt x="52" y="128"/>
                      <a:pt x="56" y="128"/>
                      <a:pt x="57" y="125"/>
                    </a:cubicBezTo>
                    <a:cubicBezTo>
                      <a:pt x="60" y="121"/>
                      <a:pt x="56" y="120"/>
                      <a:pt x="53" y="117"/>
                    </a:cubicBezTo>
                    <a:cubicBezTo>
                      <a:pt x="42" y="108"/>
                      <a:pt x="37" y="98"/>
                      <a:pt x="48" y="85"/>
                    </a:cubicBezTo>
                    <a:cubicBezTo>
                      <a:pt x="58" y="74"/>
                      <a:pt x="66" y="60"/>
                      <a:pt x="79" y="52"/>
                    </a:cubicBezTo>
                    <a:cubicBezTo>
                      <a:pt x="105" y="37"/>
                      <a:pt x="131" y="27"/>
                      <a:pt x="160" y="20"/>
                    </a:cubicBezTo>
                    <a:cubicBezTo>
                      <a:pt x="164" y="19"/>
                      <a:pt x="180" y="20"/>
                      <a:pt x="175" y="8"/>
                    </a:cubicBezTo>
                    <a:cubicBezTo>
                      <a:pt x="172" y="0"/>
                      <a:pt x="161" y="3"/>
                      <a:pt x="153" y="6"/>
                    </a:cubicBezTo>
                    <a:cubicBezTo>
                      <a:pt x="140" y="12"/>
                      <a:pt x="127" y="17"/>
                      <a:pt x="112" y="16"/>
                    </a:cubicBezTo>
                    <a:cubicBezTo>
                      <a:pt x="100" y="16"/>
                      <a:pt x="88" y="21"/>
                      <a:pt x="76" y="26"/>
                    </a:cubicBezTo>
                    <a:cubicBezTo>
                      <a:pt x="67" y="30"/>
                      <a:pt x="55" y="33"/>
                      <a:pt x="51" y="40"/>
                    </a:cubicBezTo>
                    <a:cubicBezTo>
                      <a:pt x="43" y="56"/>
                      <a:pt x="31" y="68"/>
                      <a:pt x="19" y="81"/>
                    </a:cubicBezTo>
                    <a:cubicBezTo>
                      <a:pt x="17" y="82"/>
                      <a:pt x="13" y="82"/>
                      <a:pt x="14" y="85"/>
                    </a:cubicBezTo>
                    <a:cubicBezTo>
                      <a:pt x="18" y="99"/>
                      <a:pt x="6" y="98"/>
                      <a:pt x="0" y="102"/>
                    </a:cubicBezTo>
                    <a:cubicBezTo>
                      <a:pt x="4" y="115"/>
                      <a:pt x="23" y="108"/>
                      <a:pt x="25" y="12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13">
                <a:extLst>
                  <a:ext uri="{FF2B5EF4-FFF2-40B4-BE49-F238E27FC236}">
                    <a16:creationId xmlns:a16="http://schemas.microsoft.com/office/drawing/2014/main" id="{7BB2AC6F-4241-7A13-C4B8-EC1381472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91" y="2456059"/>
                <a:ext cx="207525" cy="281641"/>
              </a:xfrm>
              <a:custGeom>
                <a:avLst/>
                <a:gdLst>
                  <a:gd name="T0" fmla="*/ 29 w 87"/>
                  <a:gd name="T1" fmla="*/ 56 h 118"/>
                  <a:gd name="T2" fmla="*/ 37 w 87"/>
                  <a:gd name="T3" fmla="*/ 66 h 118"/>
                  <a:gd name="T4" fmla="*/ 33 w 87"/>
                  <a:gd name="T5" fmla="*/ 76 h 118"/>
                  <a:gd name="T6" fmla="*/ 25 w 87"/>
                  <a:gd name="T7" fmla="*/ 88 h 118"/>
                  <a:gd name="T8" fmla="*/ 17 w 87"/>
                  <a:gd name="T9" fmla="*/ 97 h 118"/>
                  <a:gd name="T10" fmla="*/ 33 w 87"/>
                  <a:gd name="T11" fmla="*/ 102 h 118"/>
                  <a:gd name="T12" fmla="*/ 19 w 87"/>
                  <a:gd name="T13" fmla="*/ 116 h 118"/>
                  <a:gd name="T14" fmla="*/ 19 w 87"/>
                  <a:gd name="T15" fmla="*/ 116 h 118"/>
                  <a:gd name="T16" fmla="*/ 53 w 87"/>
                  <a:gd name="T17" fmla="*/ 110 h 118"/>
                  <a:gd name="T18" fmla="*/ 83 w 87"/>
                  <a:gd name="T19" fmla="*/ 93 h 118"/>
                  <a:gd name="T20" fmla="*/ 78 w 87"/>
                  <a:gd name="T21" fmla="*/ 81 h 118"/>
                  <a:gd name="T22" fmla="*/ 67 w 87"/>
                  <a:gd name="T23" fmla="*/ 68 h 118"/>
                  <a:gd name="T24" fmla="*/ 63 w 87"/>
                  <a:gd name="T25" fmla="*/ 59 h 118"/>
                  <a:gd name="T26" fmla="*/ 50 w 87"/>
                  <a:gd name="T27" fmla="*/ 13 h 118"/>
                  <a:gd name="T28" fmla="*/ 30 w 87"/>
                  <a:gd name="T29" fmla="*/ 13 h 118"/>
                  <a:gd name="T30" fmla="*/ 32 w 87"/>
                  <a:gd name="T31" fmla="*/ 2 h 118"/>
                  <a:gd name="T32" fmla="*/ 19 w 87"/>
                  <a:gd name="T33" fmla="*/ 2 h 118"/>
                  <a:gd name="T34" fmla="*/ 5 w 87"/>
                  <a:gd name="T35" fmla="*/ 21 h 118"/>
                  <a:gd name="T36" fmla="*/ 29 w 87"/>
                  <a:gd name="T37" fmla="*/ 5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7" h="118">
                    <a:moveTo>
                      <a:pt x="29" y="56"/>
                    </a:moveTo>
                    <a:cubicBezTo>
                      <a:pt x="35" y="57"/>
                      <a:pt x="36" y="62"/>
                      <a:pt x="37" y="66"/>
                    </a:cubicBezTo>
                    <a:cubicBezTo>
                      <a:pt x="38" y="70"/>
                      <a:pt x="38" y="76"/>
                      <a:pt x="33" y="76"/>
                    </a:cubicBezTo>
                    <a:cubicBezTo>
                      <a:pt x="23" y="76"/>
                      <a:pt x="20" y="79"/>
                      <a:pt x="25" y="88"/>
                    </a:cubicBezTo>
                    <a:cubicBezTo>
                      <a:pt x="27" y="93"/>
                      <a:pt x="18" y="93"/>
                      <a:pt x="17" y="97"/>
                    </a:cubicBezTo>
                    <a:cubicBezTo>
                      <a:pt x="23" y="99"/>
                      <a:pt x="29" y="97"/>
                      <a:pt x="33" y="102"/>
                    </a:cubicBezTo>
                    <a:cubicBezTo>
                      <a:pt x="27" y="105"/>
                      <a:pt x="20" y="108"/>
                      <a:pt x="19" y="116"/>
                    </a:cubicBezTo>
                    <a:cubicBezTo>
                      <a:pt x="19" y="116"/>
                      <a:pt x="19" y="116"/>
                      <a:pt x="19" y="116"/>
                    </a:cubicBezTo>
                    <a:cubicBezTo>
                      <a:pt x="31" y="118"/>
                      <a:pt x="42" y="111"/>
                      <a:pt x="53" y="110"/>
                    </a:cubicBezTo>
                    <a:cubicBezTo>
                      <a:pt x="74" y="108"/>
                      <a:pt x="74" y="108"/>
                      <a:pt x="83" y="93"/>
                    </a:cubicBezTo>
                    <a:cubicBezTo>
                      <a:pt x="87" y="86"/>
                      <a:pt x="86" y="81"/>
                      <a:pt x="78" y="81"/>
                    </a:cubicBezTo>
                    <a:cubicBezTo>
                      <a:pt x="70" y="80"/>
                      <a:pt x="68" y="75"/>
                      <a:pt x="67" y="68"/>
                    </a:cubicBezTo>
                    <a:cubicBezTo>
                      <a:pt x="67" y="64"/>
                      <a:pt x="65" y="62"/>
                      <a:pt x="63" y="59"/>
                    </a:cubicBezTo>
                    <a:cubicBezTo>
                      <a:pt x="52" y="46"/>
                      <a:pt x="37" y="37"/>
                      <a:pt x="50" y="13"/>
                    </a:cubicBezTo>
                    <a:cubicBezTo>
                      <a:pt x="42" y="13"/>
                      <a:pt x="36" y="13"/>
                      <a:pt x="30" y="13"/>
                    </a:cubicBezTo>
                    <a:cubicBezTo>
                      <a:pt x="28" y="9"/>
                      <a:pt x="38" y="6"/>
                      <a:pt x="32" y="2"/>
                    </a:cubicBezTo>
                    <a:cubicBezTo>
                      <a:pt x="29" y="0"/>
                      <a:pt x="23" y="1"/>
                      <a:pt x="19" y="2"/>
                    </a:cubicBezTo>
                    <a:cubicBezTo>
                      <a:pt x="12" y="6"/>
                      <a:pt x="14" y="16"/>
                      <a:pt x="5" y="21"/>
                    </a:cubicBezTo>
                    <a:cubicBezTo>
                      <a:pt x="0" y="23"/>
                      <a:pt x="19" y="54"/>
                      <a:pt x="29" y="5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14">
                <a:extLst>
                  <a:ext uri="{FF2B5EF4-FFF2-40B4-BE49-F238E27FC236}">
                    <a16:creationId xmlns:a16="http://schemas.microsoft.com/office/drawing/2014/main" id="{66FEC91D-A02A-363B-9DF8-21C011821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7436" y="1452124"/>
                <a:ext cx="278946" cy="195397"/>
              </a:xfrm>
              <a:custGeom>
                <a:avLst/>
                <a:gdLst>
                  <a:gd name="T0" fmla="*/ 45 w 117"/>
                  <a:gd name="T1" fmla="*/ 52 h 82"/>
                  <a:gd name="T2" fmla="*/ 32 w 117"/>
                  <a:gd name="T3" fmla="*/ 59 h 82"/>
                  <a:gd name="T4" fmla="*/ 89 w 117"/>
                  <a:gd name="T5" fmla="*/ 68 h 82"/>
                  <a:gd name="T6" fmla="*/ 109 w 117"/>
                  <a:gd name="T7" fmla="*/ 57 h 82"/>
                  <a:gd name="T8" fmla="*/ 116 w 117"/>
                  <a:gd name="T9" fmla="*/ 52 h 82"/>
                  <a:gd name="T10" fmla="*/ 110 w 117"/>
                  <a:gd name="T11" fmla="*/ 45 h 82"/>
                  <a:gd name="T12" fmla="*/ 99 w 117"/>
                  <a:gd name="T13" fmla="*/ 44 h 82"/>
                  <a:gd name="T14" fmla="*/ 83 w 117"/>
                  <a:gd name="T15" fmla="*/ 29 h 82"/>
                  <a:gd name="T16" fmla="*/ 44 w 117"/>
                  <a:gd name="T17" fmla="*/ 6 h 82"/>
                  <a:gd name="T18" fmla="*/ 29 w 117"/>
                  <a:gd name="T19" fmla="*/ 8 h 82"/>
                  <a:gd name="T20" fmla="*/ 19 w 117"/>
                  <a:gd name="T21" fmla="*/ 21 h 82"/>
                  <a:gd name="T22" fmla="*/ 18 w 117"/>
                  <a:gd name="T23" fmla="*/ 32 h 82"/>
                  <a:gd name="T24" fmla="*/ 6 w 117"/>
                  <a:gd name="T25" fmla="*/ 37 h 82"/>
                  <a:gd name="T26" fmla="*/ 45 w 117"/>
                  <a:gd name="T27" fmla="*/ 5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7" h="82">
                    <a:moveTo>
                      <a:pt x="45" y="52"/>
                    </a:moveTo>
                    <a:cubicBezTo>
                      <a:pt x="43" y="60"/>
                      <a:pt x="35" y="54"/>
                      <a:pt x="32" y="59"/>
                    </a:cubicBezTo>
                    <a:cubicBezTo>
                      <a:pt x="42" y="81"/>
                      <a:pt x="74" y="82"/>
                      <a:pt x="89" y="68"/>
                    </a:cubicBezTo>
                    <a:cubicBezTo>
                      <a:pt x="94" y="63"/>
                      <a:pt x="99" y="55"/>
                      <a:pt x="109" y="57"/>
                    </a:cubicBezTo>
                    <a:cubicBezTo>
                      <a:pt x="112" y="57"/>
                      <a:pt x="115" y="55"/>
                      <a:pt x="116" y="52"/>
                    </a:cubicBezTo>
                    <a:cubicBezTo>
                      <a:pt x="117" y="47"/>
                      <a:pt x="111" y="48"/>
                      <a:pt x="110" y="45"/>
                    </a:cubicBezTo>
                    <a:cubicBezTo>
                      <a:pt x="106" y="45"/>
                      <a:pt x="99" y="45"/>
                      <a:pt x="99" y="44"/>
                    </a:cubicBezTo>
                    <a:cubicBezTo>
                      <a:pt x="97" y="34"/>
                      <a:pt x="91" y="34"/>
                      <a:pt x="83" y="29"/>
                    </a:cubicBezTo>
                    <a:cubicBezTo>
                      <a:pt x="70" y="22"/>
                      <a:pt x="55" y="17"/>
                      <a:pt x="44" y="6"/>
                    </a:cubicBezTo>
                    <a:cubicBezTo>
                      <a:pt x="39" y="1"/>
                      <a:pt x="35" y="0"/>
                      <a:pt x="29" y="8"/>
                    </a:cubicBezTo>
                    <a:cubicBezTo>
                      <a:pt x="27" y="12"/>
                      <a:pt x="27" y="20"/>
                      <a:pt x="19" y="21"/>
                    </a:cubicBezTo>
                    <a:cubicBezTo>
                      <a:pt x="0" y="23"/>
                      <a:pt x="17" y="28"/>
                      <a:pt x="18" y="32"/>
                    </a:cubicBezTo>
                    <a:cubicBezTo>
                      <a:pt x="14" y="35"/>
                      <a:pt x="8" y="32"/>
                      <a:pt x="6" y="37"/>
                    </a:cubicBezTo>
                    <a:cubicBezTo>
                      <a:pt x="13" y="56"/>
                      <a:pt x="31" y="49"/>
                      <a:pt x="45" y="5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5">
                <a:extLst>
                  <a:ext uri="{FF2B5EF4-FFF2-40B4-BE49-F238E27FC236}">
                    <a16:creationId xmlns:a16="http://schemas.microsoft.com/office/drawing/2014/main" id="{3CD8B4C2-7574-0A6D-AF42-33DC0BEF3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863" y="155992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6">
                <a:extLst>
                  <a:ext uri="{FF2B5EF4-FFF2-40B4-BE49-F238E27FC236}">
                    <a16:creationId xmlns:a16="http://schemas.microsoft.com/office/drawing/2014/main" id="{5601D97E-591E-68BD-446E-C055BDBFB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8588" y="1535672"/>
                <a:ext cx="320720" cy="180573"/>
              </a:xfrm>
              <a:custGeom>
                <a:avLst/>
                <a:gdLst>
                  <a:gd name="T0" fmla="*/ 11 w 134"/>
                  <a:gd name="T1" fmla="*/ 21 h 76"/>
                  <a:gd name="T2" fmla="*/ 9 w 134"/>
                  <a:gd name="T3" fmla="*/ 26 h 76"/>
                  <a:gd name="T4" fmla="*/ 20 w 134"/>
                  <a:gd name="T5" fmla="*/ 39 h 76"/>
                  <a:gd name="T6" fmla="*/ 32 w 134"/>
                  <a:gd name="T7" fmla="*/ 38 h 76"/>
                  <a:gd name="T8" fmla="*/ 53 w 134"/>
                  <a:gd name="T9" fmla="*/ 36 h 76"/>
                  <a:gd name="T10" fmla="*/ 43 w 134"/>
                  <a:gd name="T11" fmla="*/ 41 h 76"/>
                  <a:gd name="T12" fmla="*/ 34 w 134"/>
                  <a:gd name="T13" fmla="*/ 60 h 76"/>
                  <a:gd name="T14" fmla="*/ 52 w 134"/>
                  <a:gd name="T15" fmla="*/ 74 h 76"/>
                  <a:gd name="T16" fmla="*/ 59 w 134"/>
                  <a:gd name="T17" fmla="*/ 72 h 76"/>
                  <a:gd name="T18" fmla="*/ 78 w 134"/>
                  <a:gd name="T19" fmla="*/ 43 h 76"/>
                  <a:gd name="T20" fmla="*/ 92 w 134"/>
                  <a:gd name="T21" fmla="*/ 33 h 76"/>
                  <a:gd name="T22" fmla="*/ 103 w 134"/>
                  <a:gd name="T23" fmla="*/ 47 h 76"/>
                  <a:gd name="T24" fmla="*/ 105 w 134"/>
                  <a:gd name="T25" fmla="*/ 56 h 76"/>
                  <a:gd name="T26" fmla="*/ 134 w 134"/>
                  <a:gd name="T27" fmla="*/ 47 h 76"/>
                  <a:gd name="T28" fmla="*/ 120 w 134"/>
                  <a:gd name="T29" fmla="*/ 42 h 76"/>
                  <a:gd name="T30" fmla="*/ 79 w 134"/>
                  <a:gd name="T31" fmla="*/ 13 h 76"/>
                  <a:gd name="T32" fmla="*/ 68 w 134"/>
                  <a:gd name="T33" fmla="*/ 10 h 76"/>
                  <a:gd name="T34" fmla="*/ 52 w 134"/>
                  <a:gd name="T35" fmla="*/ 4 h 76"/>
                  <a:gd name="T36" fmla="*/ 54 w 134"/>
                  <a:gd name="T37" fmla="*/ 13 h 76"/>
                  <a:gd name="T38" fmla="*/ 53 w 134"/>
                  <a:gd name="T39" fmla="*/ 19 h 76"/>
                  <a:gd name="T40" fmla="*/ 40 w 134"/>
                  <a:gd name="T41" fmla="*/ 5 h 76"/>
                  <a:gd name="T42" fmla="*/ 36 w 134"/>
                  <a:gd name="T43" fmla="*/ 10 h 76"/>
                  <a:gd name="T44" fmla="*/ 32 w 134"/>
                  <a:gd name="T45" fmla="*/ 15 h 76"/>
                  <a:gd name="T46" fmla="*/ 27 w 134"/>
                  <a:gd name="T47" fmla="*/ 7 h 76"/>
                  <a:gd name="T48" fmla="*/ 28 w 134"/>
                  <a:gd name="T49" fmla="*/ 4 h 76"/>
                  <a:gd name="T50" fmla="*/ 6 w 134"/>
                  <a:gd name="T51" fmla="*/ 7 h 76"/>
                  <a:gd name="T52" fmla="*/ 11 w 134"/>
                  <a:gd name="T53" fmla="*/ 2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34" h="76">
                    <a:moveTo>
                      <a:pt x="11" y="21"/>
                    </a:moveTo>
                    <a:cubicBezTo>
                      <a:pt x="10" y="22"/>
                      <a:pt x="9" y="24"/>
                      <a:pt x="9" y="26"/>
                    </a:cubicBezTo>
                    <a:cubicBezTo>
                      <a:pt x="9" y="33"/>
                      <a:pt x="15" y="37"/>
                      <a:pt x="20" y="39"/>
                    </a:cubicBezTo>
                    <a:cubicBezTo>
                      <a:pt x="23" y="41"/>
                      <a:pt x="31" y="42"/>
                      <a:pt x="32" y="38"/>
                    </a:cubicBezTo>
                    <a:cubicBezTo>
                      <a:pt x="38" y="23"/>
                      <a:pt x="46" y="32"/>
                      <a:pt x="53" y="36"/>
                    </a:cubicBezTo>
                    <a:cubicBezTo>
                      <a:pt x="51" y="41"/>
                      <a:pt x="46" y="39"/>
                      <a:pt x="43" y="41"/>
                    </a:cubicBezTo>
                    <a:cubicBezTo>
                      <a:pt x="36" y="44"/>
                      <a:pt x="30" y="55"/>
                      <a:pt x="34" y="60"/>
                    </a:cubicBezTo>
                    <a:cubicBezTo>
                      <a:pt x="39" y="65"/>
                      <a:pt x="46" y="69"/>
                      <a:pt x="52" y="74"/>
                    </a:cubicBezTo>
                    <a:cubicBezTo>
                      <a:pt x="55" y="76"/>
                      <a:pt x="58" y="76"/>
                      <a:pt x="59" y="72"/>
                    </a:cubicBezTo>
                    <a:cubicBezTo>
                      <a:pt x="63" y="61"/>
                      <a:pt x="74" y="54"/>
                      <a:pt x="78" y="43"/>
                    </a:cubicBezTo>
                    <a:cubicBezTo>
                      <a:pt x="80" y="36"/>
                      <a:pt x="86" y="31"/>
                      <a:pt x="92" y="33"/>
                    </a:cubicBezTo>
                    <a:cubicBezTo>
                      <a:pt x="98" y="35"/>
                      <a:pt x="102" y="41"/>
                      <a:pt x="103" y="47"/>
                    </a:cubicBezTo>
                    <a:cubicBezTo>
                      <a:pt x="103" y="50"/>
                      <a:pt x="100" y="55"/>
                      <a:pt x="105" y="56"/>
                    </a:cubicBezTo>
                    <a:cubicBezTo>
                      <a:pt x="116" y="58"/>
                      <a:pt x="128" y="63"/>
                      <a:pt x="134" y="47"/>
                    </a:cubicBezTo>
                    <a:cubicBezTo>
                      <a:pt x="130" y="45"/>
                      <a:pt x="125" y="45"/>
                      <a:pt x="120" y="42"/>
                    </a:cubicBezTo>
                    <a:cubicBezTo>
                      <a:pt x="106" y="32"/>
                      <a:pt x="95" y="19"/>
                      <a:pt x="79" y="13"/>
                    </a:cubicBezTo>
                    <a:cubicBezTo>
                      <a:pt x="75" y="11"/>
                      <a:pt x="69" y="18"/>
                      <a:pt x="68" y="10"/>
                    </a:cubicBezTo>
                    <a:cubicBezTo>
                      <a:pt x="66" y="0"/>
                      <a:pt x="58" y="2"/>
                      <a:pt x="52" y="4"/>
                    </a:cubicBezTo>
                    <a:cubicBezTo>
                      <a:pt x="40" y="8"/>
                      <a:pt x="56" y="9"/>
                      <a:pt x="54" y="13"/>
                    </a:cubicBezTo>
                    <a:cubicBezTo>
                      <a:pt x="53" y="15"/>
                      <a:pt x="53" y="17"/>
                      <a:pt x="53" y="19"/>
                    </a:cubicBezTo>
                    <a:cubicBezTo>
                      <a:pt x="45" y="17"/>
                      <a:pt x="47" y="7"/>
                      <a:pt x="40" y="5"/>
                    </a:cubicBezTo>
                    <a:cubicBezTo>
                      <a:pt x="38" y="6"/>
                      <a:pt x="36" y="7"/>
                      <a:pt x="36" y="10"/>
                    </a:cubicBezTo>
                    <a:cubicBezTo>
                      <a:pt x="36" y="13"/>
                      <a:pt x="36" y="17"/>
                      <a:pt x="32" y="15"/>
                    </a:cubicBezTo>
                    <a:cubicBezTo>
                      <a:pt x="30" y="14"/>
                      <a:pt x="25" y="11"/>
                      <a:pt x="27" y="7"/>
                    </a:cubicBezTo>
                    <a:cubicBezTo>
                      <a:pt x="28" y="6"/>
                      <a:pt x="33" y="5"/>
                      <a:pt x="28" y="4"/>
                    </a:cubicBezTo>
                    <a:cubicBezTo>
                      <a:pt x="21" y="4"/>
                      <a:pt x="12" y="1"/>
                      <a:pt x="6" y="7"/>
                    </a:cubicBezTo>
                    <a:cubicBezTo>
                      <a:pt x="0" y="13"/>
                      <a:pt x="2" y="19"/>
                      <a:pt x="11" y="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17">
                <a:extLst>
                  <a:ext uri="{FF2B5EF4-FFF2-40B4-BE49-F238E27FC236}">
                    <a16:creationId xmlns:a16="http://schemas.microsoft.com/office/drawing/2014/main" id="{3F1405FE-7AC1-C30A-3C0E-8263AC632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0856" y="3926250"/>
                <a:ext cx="266817" cy="278945"/>
              </a:xfrm>
              <a:custGeom>
                <a:avLst/>
                <a:gdLst>
                  <a:gd name="T0" fmla="*/ 104 w 112"/>
                  <a:gd name="T1" fmla="*/ 102 h 117"/>
                  <a:gd name="T2" fmla="*/ 109 w 112"/>
                  <a:gd name="T3" fmla="*/ 85 h 117"/>
                  <a:gd name="T4" fmla="*/ 108 w 112"/>
                  <a:gd name="T5" fmla="*/ 77 h 117"/>
                  <a:gd name="T6" fmla="*/ 103 w 112"/>
                  <a:gd name="T7" fmla="*/ 77 h 117"/>
                  <a:gd name="T8" fmla="*/ 96 w 112"/>
                  <a:gd name="T9" fmla="*/ 80 h 117"/>
                  <a:gd name="T10" fmla="*/ 80 w 112"/>
                  <a:gd name="T11" fmla="*/ 63 h 117"/>
                  <a:gd name="T12" fmla="*/ 52 w 112"/>
                  <a:gd name="T13" fmla="*/ 34 h 117"/>
                  <a:gd name="T14" fmla="*/ 44 w 112"/>
                  <a:gd name="T15" fmla="*/ 28 h 117"/>
                  <a:gd name="T16" fmla="*/ 0 w 112"/>
                  <a:gd name="T17" fmla="*/ 3 h 117"/>
                  <a:gd name="T18" fmla="*/ 7 w 112"/>
                  <a:gd name="T19" fmla="*/ 17 h 117"/>
                  <a:gd name="T20" fmla="*/ 48 w 112"/>
                  <a:gd name="T21" fmla="*/ 70 h 117"/>
                  <a:gd name="T22" fmla="*/ 86 w 112"/>
                  <a:gd name="T23" fmla="*/ 111 h 117"/>
                  <a:gd name="T24" fmla="*/ 104 w 112"/>
                  <a:gd name="T25" fmla="*/ 10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2" h="117">
                    <a:moveTo>
                      <a:pt x="104" y="102"/>
                    </a:moveTo>
                    <a:cubicBezTo>
                      <a:pt x="104" y="96"/>
                      <a:pt x="105" y="90"/>
                      <a:pt x="109" y="85"/>
                    </a:cubicBezTo>
                    <a:cubicBezTo>
                      <a:pt x="112" y="82"/>
                      <a:pt x="111" y="79"/>
                      <a:pt x="108" y="77"/>
                    </a:cubicBezTo>
                    <a:cubicBezTo>
                      <a:pt x="106" y="76"/>
                      <a:pt x="103" y="76"/>
                      <a:pt x="103" y="77"/>
                    </a:cubicBezTo>
                    <a:cubicBezTo>
                      <a:pt x="104" y="87"/>
                      <a:pt x="98" y="82"/>
                      <a:pt x="96" y="80"/>
                    </a:cubicBezTo>
                    <a:cubicBezTo>
                      <a:pt x="90" y="75"/>
                      <a:pt x="80" y="69"/>
                      <a:pt x="80" y="63"/>
                    </a:cubicBezTo>
                    <a:cubicBezTo>
                      <a:pt x="78" y="44"/>
                      <a:pt x="64" y="41"/>
                      <a:pt x="52" y="34"/>
                    </a:cubicBezTo>
                    <a:cubicBezTo>
                      <a:pt x="48" y="32"/>
                      <a:pt x="46" y="30"/>
                      <a:pt x="44" y="28"/>
                    </a:cubicBezTo>
                    <a:cubicBezTo>
                      <a:pt x="31" y="16"/>
                      <a:pt x="22" y="0"/>
                      <a:pt x="0" y="3"/>
                    </a:cubicBezTo>
                    <a:cubicBezTo>
                      <a:pt x="0" y="9"/>
                      <a:pt x="3" y="13"/>
                      <a:pt x="7" y="17"/>
                    </a:cubicBezTo>
                    <a:cubicBezTo>
                      <a:pt x="25" y="31"/>
                      <a:pt x="39" y="50"/>
                      <a:pt x="48" y="70"/>
                    </a:cubicBezTo>
                    <a:cubicBezTo>
                      <a:pt x="57" y="89"/>
                      <a:pt x="72" y="98"/>
                      <a:pt x="86" y="111"/>
                    </a:cubicBezTo>
                    <a:cubicBezTo>
                      <a:pt x="93" y="117"/>
                      <a:pt x="103" y="112"/>
                      <a:pt x="104" y="10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18">
                <a:extLst>
                  <a:ext uri="{FF2B5EF4-FFF2-40B4-BE49-F238E27FC236}">
                    <a16:creationId xmlns:a16="http://schemas.microsoft.com/office/drawing/2014/main" id="{5AF9F753-BC60-9B5B-7CEE-6DC7F1A35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868" y="1690642"/>
                <a:ext cx="404270" cy="140147"/>
              </a:xfrm>
              <a:custGeom>
                <a:avLst/>
                <a:gdLst>
                  <a:gd name="T0" fmla="*/ 44 w 170"/>
                  <a:gd name="T1" fmla="*/ 35 h 59"/>
                  <a:gd name="T2" fmla="*/ 53 w 170"/>
                  <a:gd name="T3" fmla="*/ 48 h 59"/>
                  <a:gd name="T4" fmla="*/ 95 w 170"/>
                  <a:gd name="T5" fmla="*/ 52 h 59"/>
                  <a:gd name="T6" fmla="*/ 150 w 170"/>
                  <a:gd name="T7" fmla="*/ 51 h 59"/>
                  <a:gd name="T8" fmla="*/ 170 w 170"/>
                  <a:gd name="T9" fmla="*/ 39 h 59"/>
                  <a:gd name="T10" fmla="*/ 151 w 170"/>
                  <a:gd name="T11" fmla="*/ 29 h 59"/>
                  <a:gd name="T12" fmla="*/ 89 w 170"/>
                  <a:gd name="T13" fmla="*/ 30 h 59"/>
                  <a:gd name="T14" fmla="*/ 69 w 170"/>
                  <a:gd name="T15" fmla="*/ 17 h 59"/>
                  <a:gd name="T16" fmla="*/ 61 w 170"/>
                  <a:gd name="T17" fmla="*/ 12 h 59"/>
                  <a:gd name="T18" fmla="*/ 16 w 170"/>
                  <a:gd name="T19" fmla="*/ 2 h 59"/>
                  <a:gd name="T20" fmla="*/ 2 w 170"/>
                  <a:gd name="T21" fmla="*/ 7 h 59"/>
                  <a:gd name="T22" fmla="*/ 11 w 170"/>
                  <a:gd name="T23" fmla="*/ 13 h 59"/>
                  <a:gd name="T24" fmla="*/ 24 w 170"/>
                  <a:gd name="T25" fmla="*/ 17 h 59"/>
                  <a:gd name="T26" fmla="*/ 44 w 170"/>
                  <a:gd name="T27" fmla="*/ 3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0" h="59">
                    <a:moveTo>
                      <a:pt x="44" y="35"/>
                    </a:moveTo>
                    <a:cubicBezTo>
                      <a:pt x="44" y="42"/>
                      <a:pt x="47" y="44"/>
                      <a:pt x="53" y="48"/>
                    </a:cubicBezTo>
                    <a:cubicBezTo>
                      <a:pt x="67" y="56"/>
                      <a:pt x="81" y="47"/>
                      <a:pt x="95" y="52"/>
                    </a:cubicBezTo>
                    <a:cubicBezTo>
                      <a:pt x="112" y="59"/>
                      <a:pt x="132" y="45"/>
                      <a:pt x="150" y="51"/>
                    </a:cubicBezTo>
                    <a:cubicBezTo>
                      <a:pt x="163" y="56"/>
                      <a:pt x="170" y="47"/>
                      <a:pt x="170" y="39"/>
                    </a:cubicBezTo>
                    <a:cubicBezTo>
                      <a:pt x="170" y="30"/>
                      <a:pt x="159" y="30"/>
                      <a:pt x="151" y="29"/>
                    </a:cubicBezTo>
                    <a:cubicBezTo>
                      <a:pt x="130" y="27"/>
                      <a:pt x="110" y="34"/>
                      <a:pt x="89" y="30"/>
                    </a:cubicBezTo>
                    <a:cubicBezTo>
                      <a:pt x="82" y="29"/>
                      <a:pt x="64" y="40"/>
                      <a:pt x="69" y="17"/>
                    </a:cubicBezTo>
                    <a:cubicBezTo>
                      <a:pt x="70" y="14"/>
                      <a:pt x="64" y="11"/>
                      <a:pt x="61" y="12"/>
                    </a:cubicBezTo>
                    <a:cubicBezTo>
                      <a:pt x="45" y="14"/>
                      <a:pt x="31" y="6"/>
                      <a:pt x="16" y="2"/>
                    </a:cubicBezTo>
                    <a:cubicBezTo>
                      <a:pt x="11" y="1"/>
                      <a:pt x="3" y="0"/>
                      <a:pt x="2" y="7"/>
                    </a:cubicBezTo>
                    <a:cubicBezTo>
                      <a:pt x="0" y="13"/>
                      <a:pt x="8" y="10"/>
                      <a:pt x="11" y="13"/>
                    </a:cubicBezTo>
                    <a:cubicBezTo>
                      <a:pt x="14" y="16"/>
                      <a:pt x="19" y="17"/>
                      <a:pt x="24" y="17"/>
                    </a:cubicBezTo>
                    <a:cubicBezTo>
                      <a:pt x="37" y="16"/>
                      <a:pt x="45" y="21"/>
                      <a:pt x="44" y="3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19">
                <a:extLst>
                  <a:ext uri="{FF2B5EF4-FFF2-40B4-BE49-F238E27FC236}">
                    <a16:creationId xmlns:a16="http://schemas.microsoft.com/office/drawing/2014/main" id="{49DB48FA-690D-85D8-DA9C-41BB53D2B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3879" y="2151509"/>
                <a:ext cx="247952" cy="140147"/>
              </a:xfrm>
              <a:custGeom>
                <a:avLst/>
                <a:gdLst>
                  <a:gd name="T0" fmla="*/ 100 w 104"/>
                  <a:gd name="T1" fmla="*/ 23 h 59"/>
                  <a:gd name="T2" fmla="*/ 64 w 104"/>
                  <a:gd name="T3" fmla="*/ 12 h 59"/>
                  <a:gd name="T4" fmla="*/ 55 w 104"/>
                  <a:gd name="T5" fmla="*/ 13 h 59"/>
                  <a:gd name="T6" fmla="*/ 36 w 104"/>
                  <a:gd name="T7" fmla="*/ 21 h 59"/>
                  <a:gd name="T8" fmla="*/ 27 w 104"/>
                  <a:gd name="T9" fmla="*/ 19 h 59"/>
                  <a:gd name="T10" fmla="*/ 0 w 104"/>
                  <a:gd name="T11" fmla="*/ 23 h 59"/>
                  <a:gd name="T12" fmla="*/ 19 w 104"/>
                  <a:gd name="T13" fmla="*/ 24 h 59"/>
                  <a:gd name="T14" fmla="*/ 18 w 104"/>
                  <a:gd name="T15" fmla="*/ 48 h 59"/>
                  <a:gd name="T16" fmla="*/ 48 w 104"/>
                  <a:gd name="T17" fmla="*/ 57 h 59"/>
                  <a:gd name="T18" fmla="*/ 100 w 104"/>
                  <a:gd name="T19" fmla="*/ 33 h 59"/>
                  <a:gd name="T20" fmla="*/ 100 w 104"/>
                  <a:gd name="T21" fmla="*/ 2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59">
                    <a:moveTo>
                      <a:pt x="100" y="23"/>
                    </a:moveTo>
                    <a:cubicBezTo>
                      <a:pt x="89" y="13"/>
                      <a:pt x="80" y="0"/>
                      <a:pt x="64" y="12"/>
                    </a:cubicBezTo>
                    <a:cubicBezTo>
                      <a:pt x="62" y="14"/>
                      <a:pt x="58" y="12"/>
                      <a:pt x="55" y="13"/>
                    </a:cubicBezTo>
                    <a:cubicBezTo>
                      <a:pt x="48" y="15"/>
                      <a:pt x="39" y="11"/>
                      <a:pt x="36" y="21"/>
                    </a:cubicBezTo>
                    <a:cubicBezTo>
                      <a:pt x="35" y="23"/>
                      <a:pt x="30" y="23"/>
                      <a:pt x="27" y="19"/>
                    </a:cubicBezTo>
                    <a:cubicBezTo>
                      <a:pt x="18" y="3"/>
                      <a:pt x="9" y="5"/>
                      <a:pt x="0" y="23"/>
                    </a:cubicBezTo>
                    <a:cubicBezTo>
                      <a:pt x="6" y="23"/>
                      <a:pt x="12" y="21"/>
                      <a:pt x="19" y="24"/>
                    </a:cubicBezTo>
                    <a:cubicBezTo>
                      <a:pt x="10" y="32"/>
                      <a:pt x="25" y="40"/>
                      <a:pt x="18" y="48"/>
                    </a:cubicBezTo>
                    <a:cubicBezTo>
                      <a:pt x="29" y="48"/>
                      <a:pt x="39" y="59"/>
                      <a:pt x="48" y="57"/>
                    </a:cubicBezTo>
                    <a:cubicBezTo>
                      <a:pt x="67" y="53"/>
                      <a:pt x="86" y="47"/>
                      <a:pt x="100" y="33"/>
                    </a:cubicBezTo>
                    <a:cubicBezTo>
                      <a:pt x="104" y="29"/>
                      <a:pt x="103" y="26"/>
                      <a:pt x="100" y="2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0">
                <a:extLst>
                  <a:ext uri="{FF2B5EF4-FFF2-40B4-BE49-F238E27FC236}">
                    <a16:creationId xmlns:a16="http://schemas.microsoft.com/office/drawing/2014/main" id="{87002418-D46B-A9F4-FE16-C21C944CE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4430" y="3005865"/>
                <a:ext cx="278946" cy="226391"/>
              </a:xfrm>
              <a:custGeom>
                <a:avLst/>
                <a:gdLst>
                  <a:gd name="T0" fmla="*/ 77 w 117"/>
                  <a:gd name="T1" fmla="*/ 47 h 95"/>
                  <a:gd name="T2" fmla="*/ 50 w 117"/>
                  <a:gd name="T3" fmla="*/ 67 h 95"/>
                  <a:gd name="T4" fmla="*/ 45 w 117"/>
                  <a:gd name="T5" fmla="*/ 67 h 95"/>
                  <a:gd name="T6" fmla="*/ 0 w 117"/>
                  <a:gd name="T7" fmla="*/ 86 h 95"/>
                  <a:gd name="T8" fmla="*/ 31 w 117"/>
                  <a:gd name="T9" fmla="*/ 79 h 95"/>
                  <a:gd name="T10" fmla="*/ 44 w 117"/>
                  <a:gd name="T11" fmla="*/ 81 h 95"/>
                  <a:gd name="T12" fmla="*/ 57 w 117"/>
                  <a:gd name="T13" fmla="*/ 83 h 95"/>
                  <a:gd name="T14" fmla="*/ 61 w 117"/>
                  <a:gd name="T15" fmla="*/ 80 h 95"/>
                  <a:gd name="T16" fmla="*/ 79 w 117"/>
                  <a:gd name="T17" fmla="*/ 77 h 95"/>
                  <a:gd name="T18" fmla="*/ 100 w 117"/>
                  <a:gd name="T19" fmla="*/ 55 h 95"/>
                  <a:gd name="T20" fmla="*/ 104 w 117"/>
                  <a:gd name="T21" fmla="*/ 37 h 95"/>
                  <a:gd name="T22" fmla="*/ 107 w 117"/>
                  <a:gd name="T23" fmla="*/ 10 h 95"/>
                  <a:gd name="T24" fmla="*/ 94 w 117"/>
                  <a:gd name="T25" fmla="*/ 7 h 95"/>
                  <a:gd name="T26" fmla="*/ 90 w 117"/>
                  <a:gd name="T27" fmla="*/ 20 h 95"/>
                  <a:gd name="T28" fmla="*/ 77 w 117"/>
                  <a:gd name="T29" fmla="*/ 47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7" h="95">
                    <a:moveTo>
                      <a:pt x="77" y="47"/>
                    </a:moveTo>
                    <a:cubicBezTo>
                      <a:pt x="66" y="52"/>
                      <a:pt x="54" y="54"/>
                      <a:pt x="50" y="67"/>
                    </a:cubicBezTo>
                    <a:cubicBezTo>
                      <a:pt x="49" y="69"/>
                      <a:pt x="46" y="67"/>
                      <a:pt x="45" y="67"/>
                    </a:cubicBezTo>
                    <a:cubicBezTo>
                      <a:pt x="29" y="70"/>
                      <a:pt x="12" y="69"/>
                      <a:pt x="0" y="86"/>
                    </a:cubicBezTo>
                    <a:cubicBezTo>
                      <a:pt x="12" y="88"/>
                      <a:pt x="21" y="81"/>
                      <a:pt x="31" y="79"/>
                    </a:cubicBezTo>
                    <a:cubicBezTo>
                      <a:pt x="35" y="78"/>
                      <a:pt x="42" y="76"/>
                      <a:pt x="44" y="81"/>
                    </a:cubicBezTo>
                    <a:cubicBezTo>
                      <a:pt x="47" y="95"/>
                      <a:pt x="52" y="92"/>
                      <a:pt x="57" y="83"/>
                    </a:cubicBezTo>
                    <a:cubicBezTo>
                      <a:pt x="58" y="81"/>
                      <a:pt x="58" y="78"/>
                      <a:pt x="61" y="80"/>
                    </a:cubicBezTo>
                    <a:cubicBezTo>
                      <a:pt x="68" y="85"/>
                      <a:pt x="74" y="80"/>
                      <a:pt x="79" y="77"/>
                    </a:cubicBezTo>
                    <a:cubicBezTo>
                      <a:pt x="89" y="74"/>
                      <a:pt x="102" y="72"/>
                      <a:pt x="100" y="55"/>
                    </a:cubicBezTo>
                    <a:cubicBezTo>
                      <a:pt x="100" y="50"/>
                      <a:pt x="99" y="40"/>
                      <a:pt x="104" y="37"/>
                    </a:cubicBezTo>
                    <a:cubicBezTo>
                      <a:pt x="117" y="29"/>
                      <a:pt x="109" y="19"/>
                      <a:pt x="107" y="10"/>
                    </a:cubicBezTo>
                    <a:cubicBezTo>
                      <a:pt x="104" y="0"/>
                      <a:pt x="98" y="4"/>
                      <a:pt x="94" y="7"/>
                    </a:cubicBezTo>
                    <a:cubicBezTo>
                      <a:pt x="91" y="10"/>
                      <a:pt x="90" y="15"/>
                      <a:pt x="90" y="20"/>
                    </a:cubicBezTo>
                    <a:cubicBezTo>
                      <a:pt x="91" y="31"/>
                      <a:pt x="86" y="42"/>
                      <a:pt x="77" y="4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">
                <a:extLst>
                  <a:ext uri="{FF2B5EF4-FFF2-40B4-BE49-F238E27FC236}">
                    <a16:creationId xmlns:a16="http://schemas.microsoft.com/office/drawing/2014/main" id="{4F1F686E-BCB6-DE30-5857-890BF1583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4440" y="1700076"/>
                <a:ext cx="269513" cy="126671"/>
              </a:xfrm>
              <a:custGeom>
                <a:avLst/>
                <a:gdLst>
                  <a:gd name="T0" fmla="*/ 15 w 113"/>
                  <a:gd name="T1" fmla="*/ 21 h 53"/>
                  <a:gd name="T2" fmla="*/ 8 w 113"/>
                  <a:gd name="T3" fmla="*/ 23 h 53"/>
                  <a:gd name="T4" fmla="*/ 0 w 113"/>
                  <a:gd name="T5" fmla="*/ 34 h 53"/>
                  <a:gd name="T6" fmla="*/ 11 w 113"/>
                  <a:gd name="T7" fmla="*/ 37 h 53"/>
                  <a:gd name="T8" fmla="*/ 46 w 113"/>
                  <a:gd name="T9" fmla="*/ 38 h 53"/>
                  <a:gd name="T10" fmla="*/ 32 w 113"/>
                  <a:gd name="T11" fmla="*/ 43 h 53"/>
                  <a:gd name="T12" fmla="*/ 28 w 113"/>
                  <a:gd name="T13" fmla="*/ 46 h 53"/>
                  <a:gd name="T14" fmla="*/ 32 w 113"/>
                  <a:gd name="T15" fmla="*/ 51 h 53"/>
                  <a:gd name="T16" fmla="*/ 42 w 113"/>
                  <a:gd name="T17" fmla="*/ 52 h 53"/>
                  <a:gd name="T18" fmla="*/ 83 w 113"/>
                  <a:gd name="T19" fmla="*/ 39 h 53"/>
                  <a:gd name="T20" fmla="*/ 104 w 113"/>
                  <a:gd name="T21" fmla="*/ 38 h 53"/>
                  <a:gd name="T22" fmla="*/ 113 w 113"/>
                  <a:gd name="T23" fmla="*/ 24 h 53"/>
                  <a:gd name="T24" fmla="*/ 102 w 113"/>
                  <a:gd name="T25" fmla="*/ 19 h 53"/>
                  <a:gd name="T26" fmla="*/ 88 w 113"/>
                  <a:gd name="T27" fmla="*/ 15 h 53"/>
                  <a:gd name="T28" fmla="*/ 73 w 113"/>
                  <a:gd name="T29" fmla="*/ 6 h 53"/>
                  <a:gd name="T30" fmla="*/ 73 w 113"/>
                  <a:gd name="T31" fmla="*/ 24 h 53"/>
                  <a:gd name="T32" fmla="*/ 74 w 113"/>
                  <a:gd name="T33" fmla="*/ 30 h 53"/>
                  <a:gd name="T34" fmla="*/ 59 w 113"/>
                  <a:gd name="T35" fmla="*/ 26 h 53"/>
                  <a:gd name="T36" fmla="*/ 23 w 113"/>
                  <a:gd name="T37" fmla="*/ 8 h 53"/>
                  <a:gd name="T38" fmla="*/ 9 w 113"/>
                  <a:gd name="T39" fmla="*/ 15 h 53"/>
                  <a:gd name="T40" fmla="*/ 15 w 113"/>
                  <a:gd name="T41" fmla="*/ 2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53">
                    <a:moveTo>
                      <a:pt x="15" y="21"/>
                    </a:moveTo>
                    <a:cubicBezTo>
                      <a:pt x="13" y="21"/>
                      <a:pt x="11" y="23"/>
                      <a:pt x="8" y="23"/>
                    </a:cubicBezTo>
                    <a:cubicBezTo>
                      <a:pt x="3" y="25"/>
                      <a:pt x="0" y="31"/>
                      <a:pt x="0" y="34"/>
                    </a:cubicBezTo>
                    <a:cubicBezTo>
                      <a:pt x="1" y="40"/>
                      <a:pt x="7" y="38"/>
                      <a:pt x="11" y="37"/>
                    </a:cubicBezTo>
                    <a:cubicBezTo>
                      <a:pt x="23" y="34"/>
                      <a:pt x="35" y="35"/>
                      <a:pt x="46" y="38"/>
                    </a:cubicBezTo>
                    <a:cubicBezTo>
                      <a:pt x="44" y="45"/>
                      <a:pt x="38" y="42"/>
                      <a:pt x="32" y="43"/>
                    </a:cubicBezTo>
                    <a:cubicBezTo>
                      <a:pt x="31" y="43"/>
                      <a:pt x="29" y="45"/>
                      <a:pt x="28" y="46"/>
                    </a:cubicBezTo>
                    <a:cubicBezTo>
                      <a:pt x="27" y="50"/>
                      <a:pt x="31" y="49"/>
                      <a:pt x="32" y="51"/>
                    </a:cubicBezTo>
                    <a:cubicBezTo>
                      <a:pt x="35" y="53"/>
                      <a:pt x="39" y="52"/>
                      <a:pt x="42" y="52"/>
                    </a:cubicBezTo>
                    <a:cubicBezTo>
                      <a:pt x="57" y="51"/>
                      <a:pt x="69" y="41"/>
                      <a:pt x="83" y="39"/>
                    </a:cubicBezTo>
                    <a:cubicBezTo>
                      <a:pt x="90" y="38"/>
                      <a:pt x="97" y="41"/>
                      <a:pt x="104" y="38"/>
                    </a:cubicBezTo>
                    <a:cubicBezTo>
                      <a:pt x="111" y="35"/>
                      <a:pt x="113" y="30"/>
                      <a:pt x="113" y="24"/>
                    </a:cubicBezTo>
                    <a:cubicBezTo>
                      <a:pt x="113" y="16"/>
                      <a:pt x="106" y="18"/>
                      <a:pt x="102" y="19"/>
                    </a:cubicBezTo>
                    <a:cubicBezTo>
                      <a:pt x="95" y="21"/>
                      <a:pt x="92" y="21"/>
                      <a:pt x="88" y="15"/>
                    </a:cubicBezTo>
                    <a:cubicBezTo>
                      <a:pt x="85" y="10"/>
                      <a:pt x="84" y="0"/>
                      <a:pt x="73" y="6"/>
                    </a:cubicBezTo>
                    <a:cubicBezTo>
                      <a:pt x="63" y="12"/>
                      <a:pt x="74" y="18"/>
                      <a:pt x="73" y="24"/>
                    </a:cubicBezTo>
                    <a:cubicBezTo>
                      <a:pt x="72" y="25"/>
                      <a:pt x="78" y="25"/>
                      <a:pt x="74" y="30"/>
                    </a:cubicBezTo>
                    <a:cubicBezTo>
                      <a:pt x="69" y="29"/>
                      <a:pt x="62" y="29"/>
                      <a:pt x="59" y="26"/>
                    </a:cubicBezTo>
                    <a:cubicBezTo>
                      <a:pt x="49" y="16"/>
                      <a:pt x="35" y="15"/>
                      <a:pt x="23" y="8"/>
                    </a:cubicBezTo>
                    <a:cubicBezTo>
                      <a:pt x="14" y="4"/>
                      <a:pt x="12" y="12"/>
                      <a:pt x="9" y="15"/>
                    </a:cubicBezTo>
                    <a:cubicBezTo>
                      <a:pt x="5" y="19"/>
                      <a:pt x="13" y="18"/>
                      <a:pt x="15" y="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2">
                <a:extLst>
                  <a:ext uri="{FF2B5EF4-FFF2-40B4-BE49-F238E27FC236}">
                    <a16:creationId xmlns:a16="http://schemas.microsoft.com/office/drawing/2014/main" id="{C2E16F34-F5B0-0770-3144-322E16994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3477" y="1468295"/>
                <a:ext cx="179226" cy="145537"/>
              </a:xfrm>
              <a:custGeom>
                <a:avLst/>
                <a:gdLst>
                  <a:gd name="T0" fmla="*/ 9 w 75"/>
                  <a:gd name="T1" fmla="*/ 38 h 61"/>
                  <a:gd name="T2" fmla="*/ 18 w 75"/>
                  <a:gd name="T3" fmla="*/ 43 h 61"/>
                  <a:gd name="T4" fmla="*/ 58 w 75"/>
                  <a:gd name="T5" fmla="*/ 56 h 61"/>
                  <a:gd name="T6" fmla="*/ 73 w 75"/>
                  <a:gd name="T7" fmla="*/ 38 h 61"/>
                  <a:gd name="T8" fmla="*/ 59 w 75"/>
                  <a:gd name="T9" fmla="*/ 32 h 61"/>
                  <a:gd name="T10" fmla="*/ 48 w 75"/>
                  <a:gd name="T11" fmla="*/ 17 h 61"/>
                  <a:gd name="T12" fmla="*/ 48 w 75"/>
                  <a:gd name="T13" fmla="*/ 12 h 61"/>
                  <a:gd name="T14" fmla="*/ 31 w 75"/>
                  <a:gd name="T15" fmla="*/ 2 h 61"/>
                  <a:gd name="T16" fmla="*/ 13 w 75"/>
                  <a:gd name="T17" fmla="*/ 13 h 61"/>
                  <a:gd name="T18" fmla="*/ 6 w 75"/>
                  <a:gd name="T19" fmla="*/ 29 h 61"/>
                  <a:gd name="T20" fmla="*/ 9 w 75"/>
                  <a:gd name="T21" fmla="*/ 38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" h="61">
                    <a:moveTo>
                      <a:pt x="9" y="38"/>
                    </a:moveTo>
                    <a:cubicBezTo>
                      <a:pt x="13" y="39"/>
                      <a:pt x="15" y="41"/>
                      <a:pt x="18" y="43"/>
                    </a:cubicBezTo>
                    <a:cubicBezTo>
                      <a:pt x="31" y="48"/>
                      <a:pt x="42" y="57"/>
                      <a:pt x="58" y="56"/>
                    </a:cubicBezTo>
                    <a:cubicBezTo>
                      <a:pt x="73" y="61"/>
                      <a:pt x="71" y="45"/>
                      <a:pt x="73" y="38"/>
                    </a:cubicBezTo>
                    <a:cubicBezTo>
                      <a:pt x="75" y="28"/>
                      <a:pt x="64" y="34"/>
                      <a:pt x="59" y="32"/>
                    </a:cubicBezTo>
                    <a:cubicBezTo>
                      <a:pt x="53" y="29"/>
                      <a:pt x="40" y="31"/>
                      <a:pt x="48" y="17"/>
                    </a:cubicBezTo>
                    <a:cubicBezTo>
                      <a:pt x="49" y="16"/>
                      <a:pt x="49" y="12"/>
                      <a:pt x="48" y="12"/>
                    </a:cubicBezTo>
                    <a:cubicBezTo>
                      <a:pt x="42" y="10"/>
                      <a:pt x="40" y="0"/>
                      <a:pt x="31" y="2"/>
                    </a:cubicBezTo>
                    <a:cubicBezTo>
                      <a:pt x="24" y="3"/>
                      <a:pt x="15" y="3"/>
                      <a:pt x="13" y="13"/>
                    </a:cubicBezTo>
                    <a:cubicBezTo>
                      <a:pt x="12" y="19"/>
                      <a:pt x="8" y="23"/>
                      <a:pt x="6" y="29"/>
                    </a:cubicBezTo>
                    <a:cubicBezTo>
                      <a:pt x="3" y="36"/>
                      <a:pt x="0" y="36"/>
                      <a:pt x="9" y="3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3">
                <a:extLst>
                  <a:ext uri="{FF2B5EF4-FFF2-40B4-BE49-F238E27FC236}">
                    <a16:creationId xmlns:a16="http://schemas.microsoft.com/office/drawing/2014/main" id="{DAB9125E-9494-98F4-47F2-9E0FADFEF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8006" y="5083809"/>
                <a:ext cx="181922" cy="187311"/>
              </a:xfrm>
              <a:custGeom>
                <a:avLst/>
                <a:gdLst>
                  <a:gd name="T0" fmla="*/ 57 w 76"/>
                  <a:gd name="T1" fmla="*/ 10 h 79"/>
                  <a:gd name="T2" fmla="*/ 14 w 76"/>
                  <a:gd name="T3" fmla="*/ 52 h 79"/>
                  <a:gd name="T4" fmla="*/ 4 w 76"/>
                  <a:gd name="T5" fmla="*/ 67 h 79"/>
                  <a:gd name="T6" fmla="*/ 24 w 76"/>
                  <a:gd name="T7" fmla="*/ 77 h 79"/>
                  <a:gd name="T8" fmla="*/ 40 w 76"/>
                  <a:gd name="T9" fmla="*/ 68 h 79"/>
                  <a:gd name="T10" fmla="*/ 55 w 76"/>
                  <a:gd name="T11" fmla="*/ 46 h 79"/>
                  <a:gd name="T12" fmla="*/ 75 w 76"/>
                  <a:gd name="T13" fmla="*/ 17 h 79"/>
                  <a:gd name="T14" fmla="*/ 74 w 76"/>
                  <a:gd name="T15" fmla="*/ 10 h 79"/>
                  <a:gd name="T16" fmla="*/ 57 w 76"/>
                  <a:gd name="T17" fmla="*/ 1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79">
                    <a:moveTo>
                      <a:pt x="57" y="10"/>
                    </a:moveTo>
                    <a:cubicBezTo>
                      <a:pt x="49" y="31"/>
                      <a:pt x="29" y="39"/>
                      <a:pt x="14" y="52"/>
                    </a:cubicBezTo>
                    <a:cubicBezTo>
                      <a:pt x="8" y="56"/>
                      <a:pt x="0" y="60"/>
                      <a:pt x="4" y="67"/>
                    </a:cubicBezTo>
                    <a:cubicBezTo>
                      <a:pt x="7" y="74"/>
                      <a:pt x="15" y="78"/>
                      <a:pt x="24" y="77"/>
                    </a:cubicBezTo>
                    <a:cubicBezTo>
                      <a:pt x="31" y="79"/>
                      <a:pt x="35" y="74"/>
                      <a:pt x="40" y="68"/>
                    </a:cubicBezTo>
                    <a:cubicBezTo>
                      <a:pt x="44" y="61"/>
                      <a:pt x="46" y="51"/>
                      <a:pt x="55" y="46"/>
                    </a:cubicBezTo>
                    <a:cubicBezTo>
                      <a:pt x="66" y="40"/>
                      <a:pt x="71" y="28"/>
                      <a:pt x="75" y="17"/>
                    </a:cubicBezTo>
                    <a:cubicBezTo>
                      <a:pt x="76" y="15"/>
                      <a:pt x="74" y="9"/>
                      <a:pt x="74" y="10"/>
                    </a:cubicBezTo>
                    <a:cubicBezTo>
                      <a:pt x="68" y="17"/>
                      <a:pt x="61" y="0"/>
                      <a:pt x="57" y="1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4">
                <a:extLst>
                  <a:ext uri="{FF2B5EF4-FFF2-40B4-BE49-F238E27FC236}">
                    <a16:creationId xmlns:a16="http://schemas.microsoft.com/office/drawing/2014/main" id="{16555767-004D-4DB9-A10A-9A960BA2C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2679" y="1824051"/>
                <a:ext cx="150927" cy="138798"/>
              </a:xfrm>
              <a:custGeom>
                <a:avLst/>
                <a:gdLst>
                  <a:gd name="T0" fmla="*/ 10 w 63"/>
                  <a:gd name="T1" fmla="*/ 27 h 58"/>
                  <a:gd name="T2" fmla="*/ 2 w 63"/>
                  <a:gd name="T3" fmla="*/ 29 h 58"/>
                  <a:gd name="T4" fmla="*/ 7 w 63"/>
                  <a:gd name="T5" fmla="*/ 37 h 58"/>
                  <a:gd name="T6" fmla="*/ 29 w 63"/>
                  <a:gd name="T7" fmla="*/ 53 h 58"/>
                  <a:gd name="T8" fmla="*/ 41 w 63"/>
                  <a:gd name="T9" fmla="*/ 57 h 58"/>
                  <a:gd name="T10" fmla="*/ 60 w 63"/>
                  <a:gd name="T11" fmla="*/ 25 h 58"/>
                  <a:gd name="T12" fmla="*/ 44 w 63"/>
                  <a:gd name="T13" fmla="*/ 26 h 58"/>
                  <a:gd name="T14" fmla="*/ 49 w 63"/>
                  <a:gd name="T15" fmla="*/ 21 h 58"/>
                  <a:gd name="T16" fmla="*/ 55 w 63"/>
                  <a:gd name="T17" fmla="*/ 12 h 58"/>
                  <a:gd name="T18" fmla="*/ 43 w 63"/>
                  <a:gd name="T19" fmla="*/ 4 h 58"/>
                  <a:gd name="T20" fmla="*/ 19 w 63"/>
                  <a:gd name="T21" fmla="*/ 9 h 58"/>
                  <a:gd name="T22" fmla="*/ 13 w 63"/>
                  <a:gd name="T23" fmla="*/ 15 h 58"/>
                  <a:gd name="T24" fmla="*/ 15 w 63"/>
                  <a:gd name="T25" fmla="*/ 20 h 58"/>
                  <a:gd name="T26" fmla="*/ 25 w 63"/>
                  <a:gd name="T27" fmla="*/ 25 h 58"/>
                  <a:gd name="T28" fmla="*/ 10 w 63"/>
                  <a:gd name="T2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58">
                    <a:moveTo>
                      <a:pt x="10" y="27"/>
                    </a:moveTo>
                    <a:cubicBezTo>
                      <a:pt x="8" y="26"/>
                      <a:pt x="3" y="25"/>
                      <a:pt x="2" y="29"/>
                    </a:cubicBezTo>
                    <a:cubicBezTo>
                      <a:pt x="0" y="33"/>
                      <a:pt x="4" y="37"/>
                      <a:pt x="7" y="37"/>
                    </a:cubicBezTo>
                    <a:cubicBezTo>
                      <a:pt x="16" y="40"/>
                      <a:pt x="22" y="47"/>
                      <a:pt x="29" y="53"/>
                    </a:cubicBezTo>
                    <a:cubicBezTo>
                      <a:pt x="32" y="57"/>
                      <a:pt x="37" y="58"/>
                      <a:pt x="41" y="57"/>
                    </a:cubicBezTo>
                    <a:cubicBezTo>
                      <a:pt x="60" y="51"/>
                      <a:pt x="63" y="46"/>
                      <a:pt x="60" y="25"/>
                    </a:cubicBezTo>
                    <a:cubicBezTo>
                      <a:pt x="55" y="28"/>
                      <a:pt x="49" y="27"/>
                      <a:pt x="44" y="26"/>
                    </a:cubicBezTo>
                    <a:cubicBezTo>
                      <a:pt x="44" y="21"/>
                      <a:pt x="47" y="21"/>
                      <a:pt x="49" y="21"/>
                    </a:cubicBezTo>
                    <a:cubicBezTo>
                      <a:pt x="54" y="20"/>
                      <a:pt x="57" y="16"/>
                      <a:pt x="55" y="12"/>
                    </a:cubicBezTo>
                    <a:cubicBezTo>
                      <a:pt x="52" y="8"/>
                      <a:pt x="47" y="0"/>
                      <a:pt x="43" y="4"/>
                    </a:cubicBezTo>
                    <a:cubicBezTo>
                      <a:pt x="36" y="12"/>
                      <a:pt x="27" y="8"/>
                      <a:pt x="19" y="9"/>
                    </a:cubicBezTo>
                    <a:cubicBezTo>
                      <a:pt x="16" y="10"/>
                      <a:pt x="14" y="12"/>
                      <a:pt x="13" y="15"/>
                    </a:cubicBezTo>
                    <a:cubicBezTo>
                      <a:pt x="13" y="17"/>
                      <a:pt x="13" y="20"/>
                      <a:pt x="15" y="20"/>
                    </a:cubicBezTo>
                    <a:cubicBezTo>
                      <a:pt x="20" y="19"/>
                      <a:pt x="27" y="16"/>
                      <a:pt x="25" y="25"/>
                    </a:cubicBezTo>
                    <a:cubicBezTo>
                      <a:pt x="22" y="34"/>
                      <a:pt x="17" y="32"/>
                      <a:pt x="10" y="2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5">
                <a:extLst>
                  <a:ext uri="{FF2B5EF4-FFF2-40B4-BE49-F238E27FC236}">
                    <a16:creationId xmlns:a16="http://schemas.microsoft.com/office/drawing/2014/main" id="{6A566903-948E-6F6D-FED6-B31ECA5F0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1905" y="2575992"/>
                <a:ext cx="123976" cy="121280"/>
              </a:xfrm>
              <a:custGeom>
                <a:avLst/>
                <a:gdLst>
                  <a:gd name="T0" fmla="*/ 13 w 52"/>
                  <a:gd name="T1" fmla="*/ 51 h 51"/>
                  <a:gd name="T2" fmla="*/ 43 w 52"/>
                  <a:gd name="T3" fmla="*/ 41 h 51"/>
                  <a:gd name="T4" fmla="*/ 43 w 52"/>
                  <a:gd name="T5" fmla="*/ 23 h 51"/>
                  <a:gd name="T6" fmla="*/ 47 w 52"/>
                  <a:gd name="T7" fmla="*/ 15 h 51"/>
                  <a:gd name="T8" fmla="*/ 39 w 52"/>
                  <a:gd name="T9" fmla="*/ 0 h 51"/>
                  <a:gd name="T10" fmla="*/ 9 w 52"/>
                  <a:gd name="T11" fmla="*/ 15 h 51"/>
                  <a:gd name="T12" fmla="*/ 7 w 52"/>
                  <a:gd name="T13" fmla="*/ 22 h 51"/>
                  <a:gd name="T14" fmla="*/ 6 w 52"/>
                  <a:gd name="T15" fmla="*/ 39 h 51"/>
                  <a:gd name="T16" fmla="*/ 13 w 52"/>
                  <a:gd name="T17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51">
                    <a:moveTo>
                      <a:pt x="13" y="51"/>
                    </a:moveTo>
                    <a:cubicBezTo>
                      <a:pt x="23" y="49"/>
                      <a:pt x="34" y="46"/>
                      <a:pt x="43" y="41"/>
                    </a:cubicBezTo>
                    <a:cubicBezTo>
                      <a:pt x="48" y="38"/>
                      <a:pt x="46" y="29"/>
                      <a:pt x="43" y="23"/>
                    </a:cubicBezTo>
                    <a:cubicBezTo>
                      <a:pt x="42" y="20"/>
                      <a:pt x="45" y="18"/>
                      <a:pt x="47" y="15"/>
                    </a:cubicBezTo>
                    <a:cubicBezTo>
                      <a:pt x="52" y="7"/>
                      <a:pt x="49" y="0"/>
                      <a:pt x="39" y="0"/>
                    </a:cubicBezTo>
                    <a:cubicBezTo>
                      <a:pt x="35" y="0"/>
                      <a:pt x="10" y="12"/>
                      <a:pt x="9" y="15"/>
                    </a:cubicBezTo>
                    <a:cubicBezTo>
                      <a:pt x="8" y="18"/>
                      <a:pt x="6" y="21"/>
                      <a:pt x="7" y="22"/>
                    </a:cubicBezTo>
                    <a:cubicBezTo>
                      <a:pt x="13" y="28"/>
                      <a:pt x="11" y="33"/>
                      <a:pt x="6" y="39"/>
                    </a:cubicBezTo>
                    <a:cubicBezTo>
                      <a:pt x="0" y="47"/>
                      <a:pt x="7" y="51"/>
                      <a:pt x="13" y="5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">
                <a:extLst>
                  <a:ext uri="{FF2B5EF4-FFF2-40B4-BE49-F238E27FC236}">
                    <a16:creationId xmlns:a16="http://schemas.microsoft.com/office/drawing/2014/main" id="{977F398B-267D-C4A0-BA93-1A5EFFF75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2663" y="1733764"/>
                <a:ext cx="192702" cy="86244"/>
              </a:xfrm>
              <a:custGeom>
                <a:avLst/>
                <a:gdLst>
                  <a:gd name="T0" fmla="*/ 16 w 81"/>
                  <a:gd name="T1" fmla="*/ 29 h 36"/>
                  <a:gd name="T2" fmla="*/ 55 w 81"/>
                  <a:gd name="T3" fmla="*/ 22 h 36"/>
                  <a:gd name="T4" fmla="*/ 55 w 81"/>
                  <a:gd name="T5" fmla="*/ 20 h 36"/>
                  <a:gd name="T6" fmla="*/ 65 w 81"/>
                  <a:gd name="T7" fmla="*/ 27 h 36"/>
                  <a:gd name="T8" fmla="*/ 77 w 81"/>
                  <a:gd name="T9" fmla="*/ 23 h 36"/>
                  <a:gd name="T10" fmla="*/ 77 w 81"/>
                  <a:gd name="T11" fmla="*/ 13 h 36"/>
                  <a:gd name="T12" fmla="*/ 48 w 81"/>
                  <a:gd name="T13" fmla="*/ 6 h 36"/>
                  <a:gd name="T14" fmla="*/ 24 w 81"/>
                  <a:gd name="T15" fmla="*/ 4 h 36"/>
                  <a:gd name="T16" fmla="*/ 8 w 81"/>
                  <a:gd name="T17" fmla="*/ 9 h 36"/>
                  <a:gd name="T18" fmla="*/ 3 w 81"/>
                  <a:gd name="T19" fmla="*/ 22 h 36"/>
                  <a:gd name="T20" fmla="*/ 16 w 81"/>
                  <a:gd name="T21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1" h="36">
                    <a:moveTo>
                      <a:pt x="16" y="29"/>
                    </a:moveTo>
                    <a:cubicBezTo>
                      <a:pt x="29" y="26"/>
                      <a:pt x="44" y="36"/>
                      <a:pt x="55" y="22"/>
                    </a:cubicBezTo>
                    <a:cubicBezTo>
                      <a:pt x="56" y="21"/>
                      <a:pt x="55" y="20"/>
                      <a:pt x="55" y="20"/>
                    </a:cubicBezTo>
                    <a:cubicBezTo>
                      <a:pt x="58" y="22"/>
                      <a:pt x="61" y="25"/>
                      <a:pt x="65" y="27"/>
                    </a:cubicBezTo>
                    <a:cubicBezTo>
                      <a:pt x="70" y="30"/>
                      <a:pt x="74" y="29"/>
                      <a:pt x="77" y="23"/>
                    </a:cubicBezTo>
                    <a:cubicBezTo>
                      <a:pt x="79" y="20"/>
                      <a:pt x="81" y="14"/>
                      <a:pt x="77" y="13"/>
                    </a:cubicBezTo>
                    <a:cubicBezTo>
                      <a:pt x="67" y="10"/>
                      <a:pt x="56" y="1"/>
                      <a:pt x="48" y="6"/>
                    </a:cubicBezTo>
                    <a:cubicBezTo>
                      <a:pt x="37" y="13"/>
                      <a:pt x="32" y="8"/>
                      <a:pt x="24" y="4"/>
                    </a:cubicBezTo>
                    <a:cubicBezTo>
                      <a:pt x="17" y="0"/>
                      <a:pt x="12" y="5"/>
                      <a:pt x="8" y="9"/>
                    </a:cubicBezTo>
                    <a:cubicBezTo>
                      <a:pt x="4" y="12"/>
                      <a:pt x="0" y="17"/>
                      <a:pt x="3" y="22"/>
                    </a:cubicBezTo>
                    <a:cubicBezTo>
                      <a:pt x="5" y="27"/>
                      <a:pt x="10" y="31"/>
                      <a:pt x="16" y="2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">
                <a:extLst>
                  <a:ext uri="{FF2B5EF4-FFF2-40B4-BE49-F238E27FC236}">
                    <a16:creationId xmlns:a16="http://schemas.microsoft.com/office/drawing/2014/main" id="{1A7492D1-43BA-5373-48DF-465775B2B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077" y="1514111"/>
                <a:ext cx="216958" cy="76811"/>
              </a:xfrm>
              <a:custGeom>
                <a:avLst/>
                <a:gdLst>
                  <a:gd name="T0" fmla="*/ 33 w 91"/>
                  <a:gd name="T1" fmla="*/ 15 h 32"/>
                  <a:gd name="T2" fmla="*/ 18 w 91"/>
                  <a:gd name="T3" fmla="*/ 23 h 32"/>
                  <a:gd name="T4" fmla="*/ 91 w 91"/>
                  <a:gd name="T5" fmla="*/ 8 h 32"/>
                  <a:gd name="T6" fmla="*/ 0 w 91"/>
                  <a:gd name="T7" fmla="*/ 1 h 32"/>
                  <a:gd name="T8" fmla="*/ 33 w 91"/>
                  <a:gd name="T9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32">
                    <a:moveTo>
                      <a:pt x="33" y="15"/>
                    </a:moveTo>
                    <a:cubicBezTo>
                      <a:pt x="28" y="17"/>
                      <a:pt x="25" y="19"/>
                      <a:pt x="18" y="23"/>
                    </a:cubicBezTo>
                    <a:cubicBezTo>
                      <a:pt x="46" y="27"/>
                      <a:pt x="70" y="32"/>
                      <a:pt x="91" y="8"/>
                    </a:cubicBezTo>
                    <a:cubicBezTo>
                      <a:pt x="60" y="0"/>
                      <a:pt x="30" y="5"/>
                      <a:pt x="0" y="1"/>
                    </a:cubicBezTo>
                    <a:cubicBezTo>
                      <a:pt x="5" y="24"/>
                      <a:pt x="22" y="9"/>
                      <a:pt x="33" y="1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8">
                <a:extLst>
                  <a:ext uri="{FF2B5EF4-FFF2-40B4-BE49-F238E27FC236}">
                    <a16:creationId xmlns:a16="http://schemas.microsoft.com/office/drawing/2014/main" id="{EBBA4E57-785A-26C1-AFE9-355B52908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209" y="1700076"/>
                <a:ext cx="180573" cy="102415"/>
              </a:xfrm>
              <a:custGeom>
                <a:avLst/>
                <a:gdLst>
                  <a:gd name="T0" fmla="*/ 27 w 76"/>
                  <a:gd name="T1" fmla="*/ 8 h 43"/>
                  <a:gd name="T2" fmla="*/ 25 w 76"/>
                  <a:gd name="T3" fmla="*/ 21 h 43"/>
                  <a:gd name="T4" fmla="*/ 13 w 76"/>
                  <a:gd name="T5" fmla="*/ 7 h 43"/>
                  <a:gd name="T6" fmla="*/ 4 w 76"/>
                  <a:gd name="T7" fmla="*/ 4 h 43"/>
                  <a:gd name="T8" fmla="*/ 5 w 76"/>
                  <a:gd name="T9" fmla="*/ 15 h 43"/>
                  <a:gd name="T10" fmla="*/ 34 w 76"/>
                  <a:gd name="T11" fmla="*/ 26 h 43"/>
                  <a:gd name="T12" fmla="*/ 44 w 76"/>
                  <a:gd name="T13" fmla="*/ 28 h 43"/>
                  <a:gd name="T14" fmla="*/ 66 w 76"/>
                  <a:gd name="T15" fmla="*/ 37 h 43"/>
                  <a:gd name="T16" fmla="*/ 70 w 76"/>
                  <a:gd name="T17" fmla="*/ 16 h 43"/>
                  <a:gd name="T18" fmla="*/ 61 w 76"/>
                  <a:gd name="T19" fmla="*/ 7 h 43"/>
                  <a:gd name="T20" fmla="*/ 37 w 76"/>
                  <a:gd name="T21" fmla="*/ 0 h 43"/>
                  <a:gd name="T22" fmla="*/ 27 w 76"/>
                  <a:gd name="T23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43">
                    <a:moveTo>
                      <a:pt x="27" y="8"/>
                    </a:moveTo>
                    <a:cubicBezTo>
                      <a:pt x="26" y="12"/>
                      <a:pt x="26" y="15"/>
                      <a:pt x="25" y="21"/>
                    </a:cubicBezTo>
                    <a:cubicBezTo>
                      <a:pt x="20" y="15"/>
                      <a:pt x="16" y="11"/>
                      <a:pt x="13" y="7"/>
                    </a:cubicBezTo>
                    <a:cubicBezTo>
                      <a:pt x="10" y="4"/>
                      <a:pt x="6" y="2"/>
                      <a:pt x="4" y="4"/>
                    </a:cubicBezTo>
                    <a:cubicBezTo>
                      <a:pt x="0" y="7"/>
                      <a:pt x="2" y="12"/>
                      <a:pt x="5" y="15"/>
                    </a:cubicBezTo>
                    <a:cubicBezTo>
                      <a:pt x="13" y="23"/>
                      <a:pt x="21" y="31"/>
                      <a:pt x="34" y="26"/>
                    </a:cubicBezTo>
                    <a:cubicBezTo>
                      <a:pt x="37" y="25"/>
                      <a:pt x="42" y="23"/>
                      <a:pt x="44" y="28"/>
                    </a:cubicBezTo>
                    <a:cubicBezTo>
                      <a:pt x="48" y="41"/>
                      <a:pt x="53" y="43"/>
                      <a:pt x="66" y="37"/>
                    </a:cubicBezTo>
                    <a:cubicBezTo>
                      <a:pt x="76" y="32"/>
                      <a:pt x="67" y="23"/>
                      <a:pt x="70" y="16"/>
                    </a:cubicBezTo>
                    <a:cubicBezTo>
                      <a:pt x="70" y="14"/>
                      <a:pt x="68" y="6"/>
                      <a:pt x="61" y="7"/>
                    </a:cubicBezTo>
                    <a:cubicBezTo>
                      <a:pt x="53" y="8"/>
                      <a:pt x="46" y="5"/>
                      <a:pt x="37" y="0"/>
                    </a:cubicBezTo>
                    <a:cubicBezTo>
                      <a:pt x="43" y="21"/>
                      <a:pt x="34" y="12"/>
                      <a:pt x="27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id="{11B96698-6F3A-537F-F540-EFEB8A8453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0565" y="22674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id="{D2902605-E746-F763-67F5-D5D658CD6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5859" y="2628546"/>
                <a:ext cx="70073" cy="242562"/>
              </a:xfrm>
              <a:custGeom>
                <a:avLst/>
                <a:gdLst>
                  <a:gd name="T0" fmla="*/ 1 w 29"/>
                  <a:gd name="T1" fmla="*/ 15 h 102"/>
                  <a:gd name="T2" fmla="*/ 1 w 29"/>
                  <a:gd name="T3" fmla="*/ 91 h 102"/>
                  <a:gd name="T4" fmla="*/ 8 w 29"/>
                  <a:gd name="T5" fmla="*/ 96 h 102"/>
                  <a:gd name="T6" fmla="*/ 17 w 29"/>
                  <a:gd name="T7" fmla="*/ 102 h 102"/>
                  <a:gd name="T8" fmla="*/ 11 w 29"/>
                  <a:gd name="T9" fmla="*/ 90 h 102"/>
                  <a:gd name="T10" fmla="*/ 18 w 29"/>
                  <a:gd name="T11" fmla="*/ 63 h 102"/>
                  <a:gd name="T12" fmla="*/ 23 w 29"/>
                  <a:gd name="T13" fmla="*/ 55 h 102"/>
                  <a:gd name="T14" fmla="*/ 15 w 29"/>
                  <a:gd name="T15" fmla="*/ 11 h 102"/>
                  <a:gd name="T16" fmla="*/ 8 w 29"/>
                  <a:gd name="T17" fmla="*/ 0 h 102"/>
                  <a:gd name="T18" fmla="*/ 1 w 29"/>
                  <a:gd name="T19" fmla="*/ 10 h 102"/>
                  <a:gd name="T20" fmla="*/ 1 w 29"/>
                  <a:gd name="T21" fmla="*/ 1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102">
                    <a:moveTo>
                      <a:pt x="1" y="15"/>
                    </a:moveTo>
                    <a:cubicBezTo>
                      <a:pt x="6" y="40"/>
                      <a:pt x="4" y="66"/>
                      <a:pt x="1" y="91"/>
                    </a:cubicBezTo>
                    <a:cubicBezTo>
                      <a:pt x="1" y="95"/>
                      <a:pt x="0" y="100"/>
                      <a:pt x="8" y="96"/>
                    </a:cubicBezTo>
                    <a:cubicBezTo>
                      <a:pt x="12" y="94"/>
                      <a:pt x="12" y="102"/>
                      <a:pt x="17" y="102"/>
                    </a:cubicBezTo>
                    <a:cubicBezTo>
                      <a:pt x="18" y="96"/>
                      <a:pt x="14" y="94"/>
                      <a:pt x="11" y="90"/>
                    </a:cubicBezTo>
                    <a:cubicBezTo>
                      <a:pt x="4" y="81"/>
                      <a:pt x="9" y="61"/>
                      <a:pt x="18" y="63"/>
                    </a:cubicBezTo>
                    <a:cubicBezTo>
                      <a:pt x="29" y="64"/>
                      <a:pt x="24" y="60"/>
                      <a:pt x="23" y="55"/>
                    </a:cubicBezTo>
                    <a:cubicBezTo>
                      <a:pt x="21" y="40"/>
                      <a:pt x="10" y="28"/>
                      <a:pt x="15" y="11"/>
                    </a:cubicBezTo>
                    <a:cubicBezTo>
                      <a:pt x="16" y="8"/>
                      <a:pt x="13" y="0"/>
                      <a:pt x="8" y="0"/>
                    </a:cubicBezTo>
                    <a:cubicBezTo>
                      <a:pt x="5" y="0"/>
                      <a:pt x="1" y="5"/>
                      <a:pt x="1" y="10"/>
                    </a:cubicBezTo>
                    <a:cubicBezTo>
                      <a:pt x="1" y="12"/>
                      <a:pt x="1" y="13"/>
                      <a:pt x="1" y="1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id="{41DEA32D-1AB8-1CAB-27C1-E4E87B898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31842" y="4988131"/>
                <a:ext cx="114544" cy="130714"/>
              </a:xfrm>
              <a:custGeom>
                <a:avLst/>
                <a:gdLst>
                  <a:gd name="T0" fmla="*/ 22 w 48"/>
                  <a:gd name="T1" fmla="*/ 4 h 55"/>
                  <a:gd name="T2" fmla="*/ 12 w 48"/>
                  <a:gd name="T3" fmla="*/ 4 h 55"/>
                  <a:gd name="T4" fmla="*/ 2 w 48"/>
                  <a:gd name="T5" fmla="*/ 27 h 55"/>
                  <a:gd name="T6" fmla="*/ 12 w 48"/>
                  <a:gd name="T7" fmla="*/ 37 h 55"/>
                  <a:gd name="T8" fmla="*/ 14 w 48"/>
                  <a:gd name="T9" fmla="*/ 46 h 55"/>
                  <a:gd name="T10" fmla="*/ 14 w 48"/>
                  <a:gd name="T11" fmla="*/ 54 h 55"/>
                  <a:gd name="T12" fmla="*/ 24 w 48"/>
                  <a:gd name="T13" fmla="*/ 52 h 55"/>
                  <a:gd name="T14" fmla="*/ 47 w 48"/>
                  <a:gd name="T15" fmla="*/ 17 h 55"/>
                  <a:gd name="T16" fmla="*/ 47 w 48"/>
                  <a:gd name="T17" fmla="*/ 9 h 55"/>
                  <a:gd name="T18" fmla="*/ 22 w 48"/>
                  <a:gd name="T19" fmla="*/ 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5">
                    <a:moveTo>
                      <a:pt x="22" y="4"/>
                    </a:moveTo>
                    <a:cubicBezTo>
                      <a:pt x="21" y="0"/>
                      <a:pt x="12" y="3"/>
                      <a:pt x="12" y="4"/>
                    </a:cubicBezTo>
                    <a:cubicBezTo>
                      <a:pt x="12" y="13"/>
                      <a:pt x="5" y="19"/>
                      <a:pt x="2" y="27"/>
                    </a:cubicBezTo>
                    <a:cubicBezTo>
                      <a:pt x="0" y="34"/>
                      <a:pt x="10" y="32"/>
                      <a:pt x="12" y="37"/>
                    </a:cubicBezTo>
                    <a:cubicBezTo>
                      <a:pt x="13" y="40"/>
                      <a:pt x="15" y="43"/>
                      <a:pt x="14" y="46"/>
                    </a:cubicBezTo>
                    <a:cubicBezTo>
                      <a:pt x="14" y="49"/>
                      <a:pt x="10" y="52"/>
                      <a:pt x="14" y="54"/>
                    </a:cubicBezTo>
                    <a:cubicBezTo>
                      <a:pt x="17" y="55"/>
                      <a:pt x="22" y="55"/>
                      <a:pt x="24" y="52"/>
                    </a:cubicBezTo>
                    <a:cubicBezTo>
                      <a:pt x="30" y="39"/>
                      <a:pt x="37" y="27"/>
                      <a:pt x="47" y="17"/>
                    </a:cubicBezTo>
                    <a:cubicBezTo>
                      <a:pt x="48" y="16"/>
                      <a:pt x="47" y="13"/>
                      <a:pt x="47" y="9"/>
                    </a:cubicBezTo>
                    <a:cubicBezTo>
                      <a:pt x="36" y="14"/>
                      <a:pt x="28" y="18"/>
                      <a:pt x="22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2">
                <a:extLst>
                  <a:ext uri="{FF2B5EF4-FFF2-40B4-BE49-F238E27FC236}">
                    <a16:creationId xmlns:a16="http://schemas.microsoft.com/office/drawing/2014/main" id="{1DF33200-5FF4-76A3-34E8-8356592BB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4600" y="20531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3">
                <a:extLst>
                  <a:ext uri="{FF2B5EF4-FFF2-40B4-BE49-F238E27FC236}">
                    <a16:creationId xmlns:a16="http://schemas.microsoft.com/office/drawing/2014/main" id="{67FC7F59-6725-4E64-2AE4-6DD7D2A54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6989" y="1669081"/>
                <a:ext cx="164402" cy="83549"/>
              </a:xfrm>
              <a:custGeom>
                <a:avLst/>
                <a:gdLst>
                  <a:gd name="T0" fmla="*/ 13 w 69"/>
                  <a:gd name="T1" fmla="*/ 32 h 35"/>
                  <a:gd name="T2" fmla="*/ 21 w 69"/>
                  <a:gd name="T3" fmla="*/ 33 h 35"/>
                  <a:gd name="T4" fmla="*/ 39 w 69"/>
                  <a:gd name="T5" fmla="*/ 23 h 35"/>
                  <a:gd name="T6" fmla="*/ 48 w 69"/>
                  <a:gd name="T7" fmla="*/ 22 h 35"/>
                  <a:gd name="T8" fmla="*/ 57 w 69"/>
                  <a:gd name="T9" fmla="*/ 24 h 35"/>
                  <a:gd name="T10" fmla="*/ 68 w 69"/>
                  <a:gd name="T11" fmla="*/ 4 h 35"/>
                  <a:gd name="T12" fmla="*/ 57 w 69"/>
                  <a:gd name="T13" fmla="*/ 4 h 35"/>
                  <a:gd name="T14" fmla="*/ 45 w 69"/>
                  <a:gd name="T15" fmla="*/ 3 h 35"/>
                  <a:gd name="T16" fmla="*/ 35 w 69"/>
                  <a:gd name="T17" fmla="*/ 7 h 35"/>
                  <a:gd name="T18" fmla="*/ 11 w 69"/>
                  <a:gd name="T19" fmla="*/ 22 h 35"/>
                  <a:gd name="T20" fmla="*/ 1 w 69"/>
                  <a:gd name="T21" fmla="*/ 30 h 35"/>
                  <a:gd name="T22" fmla="*/ 13 w 69"/>
                  <a:gd name="T23" fmla="*/ 3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35">
                    <a:moveTo>
                      <a:pt x="13" y="32"/>
                    </a:moveTo>
                    <a:cubicBezTo>
                      <a:pt x="16" y="32"/>
                      <a:pt x="18" y="33"/>
                      <a:pt x="21" y="33"/>
                    </a:cubicBezTo>
                    <a:cubicBezTo>
                      <a:pt x="29" y="34"/>
                      <a:pt x="37" y="35"/>
                      <a:pt x="39" y="23"/>
                    </a:cubicBezTo>
                    <a:cubicBezTo>
                      <a:pt x="41" y="12"/>
                      <a:pt x="44" y="16"/>
                      <a:pt x="48" y="22"/>
                    </a:cubicBezTo>
                    <a:cubicBezTo>
                      <a:pt x="51" y="27"/>
                      <a:pt x="53" y="27"/>
                      <a:pt x="57" y="24"/>
                    </a:cubicBezTo>
                    <a:cubicBezTo>
                      <a:pt x="64" y="18"/>
                      <a:pt x="69" y="12"/>
                      <a:pt x="68" y="4"/>
                    </a:cubicBezTo>
                    <a:cubicBezTo>
                      <a:pt x="68" y="0"/>
                      <a:pt x="61" y="1"/>
                      <a:pt x="57" y="4"/>
                    </a:cubicBezTo>
                    <a:cubicBezTo>
                      <a:pt x="53" y="6"/>
                      <a:pt x="49" y="5"/>
                      <a:pt x="45" y="3"/>
                    </a:cubicBezTo>
                    <a:cubicBezTo>
                      <a:pt x="41" y="1"/>
                      <a:pt x="38" y="5"/>
                      <a:pt x="35" y="7"/>
                    </a:cubicBezTo>
                    <a:cubicBezTo>
                      <a:pt x="28" y="13"/>
                      <a:pt x="20" y="19"/>
                      <a:pt x="11" y="22"/>
                    </a:cubicBezTo>
                    <a:cubicBezTo>
                      <a:pt x="6" y="23"/>
                      <a:pt x="0" y="24"/>
                      <a:pt x="1" y="30"/>
                    </a:cubicBezTo>
                    <a:cubicBezTo>
                      <a:pt x="2" y="35"/>
                      <a:pt x="9" y="31"/>
                      <a:pt x="13" y="3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4">
                <a:extLst>
                  <a:ext uri="{FF2B5EF4-FFF2-40B4-BE49-F238E27FC236}">
                    <a16:creationId xmlns:a16="http://schemas.microsoft.com/office/drawing/2014/main" id="{2D501B76-03AD-1F93-6277-6B3CDAF81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953" y="1566667"/>
                <a:ext cx="161708" cy="87592"/>
              </a:xfrm>
              <a:custGeom>
                <a:avLst/>
                <a:gdLst>
                  <a:gd name="T0" fmla="*/ 4 w 68"/>
                  <a:gd name="T1" fmla="*/ 12 h 37"/>
                  <a:gd name="T2" fmla="*/ 21 w 68"/>
                  <a:gd name="T3" fmla="*/ 18 h 37"/>
                  <a:gd name="T4" fmla="*/ 10 w 68"/>
                  <a:gd name="T5" fmla="*/ 28 h 37"/>
                  <a:gd name="T6" fmla="*/ 53 w 68"/>
                  <a:gd name="T7" fmla="*/ 35 h 37"/>
                  <a:gd name="T8" fmla="*/ 64 w 68"/>
                  <a:gd name="T9" fmla="*/ 33 h 37"/>
                  <a:gd name="T10" fmla="*/ 60 w 68"/>
                  <a:gd name="T11" fmla="*/ 23 h 37"/>
                  <a:gd name="T12" fmla="*/ 5 w 68"/>
                  <a:gd name="T13" fmla="*/ 3 h 37"/>
                  <a:gd name="T14" fmla="*/ 0 w 68"/>
                  <a:gd name="T15" fmla="*/ 7 h 37"/>
                  <a:gd name="T16" fmla="*/ 4 w 68"/>
                  <a:gd name="T17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37">
                    <a:moveTo>
                      <a:pt x="4" y="12"/>
                    </a:moveTo>
                    <a:cubicBezTo>
                      <a:pt x="9" y="15"/>
                      <a:pt x="17" y="12"/>
                      <a:pt x="21" y="18"/>
                    </a:cubicBezTo>
                    <a:cubicBezTo>
                      <a:pt x="19" y="23"/>
                      <a:pt x="11" y="19"/>
                      <a:pt x="10" y="28"/>
                    </a:cubicBezTo>
                    <a:cubicBezTo>
                      <a:pt x="26" y="22"/>
                      <a:pt x="40" y="27"/>
                      <a:pt x="53" y="35"/>
                    </a:cubicBezTo>
                    <a:cubicBezTo>
                      <a:pt x="56" y="37"/>
                      <a:pt x="61" y="36"/>
                      <a:pt x="64" y="33"/>
                    </a:cubicBezTo>
                    <a:cubicBezTo>
                      <a:pt x="68" y="27"/>
                      <a:pt x="62" y="25"/>
                      <a:pt x="60" y="23"/>
                    </a:cubicBezTo>
                    <a:cubicBezTo>
                      <a:pt x="44" y="11"/>
                      <a:pt x="27" y="0"/>
                      <a:pt x="5" y="3"/>
                    </a:cubicBezTo>
                    <a:cubicBezTo>
                      <a:pt x="2" y="3"/>
                      <a:pt x="0" y="4"/>
                      <a:pt x="0" y="7"/>
                    </a:cubicBezTo>
                    <a:cubicBezTo>
                      <a:pt x="0" y="9"/>
                      <a:pt x="2" y="11"/>
                      <a:pt x="4" y="1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5">
                <a:extLst>
                  <a:ext uri="{FF2B5EF4-FFF2-40B4-BE49-F238E27FC236}">
                    <a16:creationId xmlns:a16="http://schemas.microsoft.com/office/drawing/2014/main" id="{7E725DD5-6D30-59DB-B29E-5E593D503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9375" y="4186332"/>
                <a:ext cx="227738" cy="86244"/>
              </a:xfrm>
              <a:custGeom>
                <a:avLst/>
                <a:gdLst>
                  <a:gd name="T0" fmla="*/ 96 w 96"/>
                  <a:gd name="T1" fmla="*/ 33 h 36"/>
                  <a:gd name="T2" fmla="*/ 74 w 96"/>
                  <a:gd name="T3" fmla="*/ 24 h 36"/>
                  <a:gd name="T4" fmla="*/ 53 w 96"/>
                  <a:gd name="T5" fmla="*/ 15 h 36"/>
                  <a:gd name="T6" fmla="*/ 30 w 96"/>
                  <a:gd name="T7" fmla="*/ 11 h 36"/>
                  <a:gd name="T8" fmla="*/ 0 w 96"/>
                  <a:gd name="T9" fmla="*/ 14 h 36"/>
                  <a:gd name="T10" fmla="*/ 35 w 96"/>
                  <a:gd name="T11" fmla="*/ 21 h 36"/>
                  <a:gd name="T12" fmla="*/ 41 w 96"/>
                  <a:gd name="T13" fmla="*/ 24 h 36"/>
                  <a:gd name="T14" fmla="*/ 96 w 96"/>
                  <a:gd name="T15" fmla="*/ 3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36">
                    <a:moveTo>
                      <a:pt x="96" y="33"/>
                    </a:moveTo>
                    <a:cubicBezTo>
                      <a:pt x="88" y="24"/>
                      <a:pt x="76" y="30"/>
                      <a:pt x="74" y="24"/>
                    </a:cubicBezTo>
                    <a:cubicBezTo>
                      <a:pt x="69" y="13"/>
                      <a:pt x="61" y="16"/>
                      <a:pt x="53" y="15"/>
                    </a:cubicBezTo>
                    <a:cubicBezTo>
                      <a:pt x="45" y="14"/>
                      <a:pt x="38" y="14"/>
                      <a:pt x="30" y="11"/>
                    </a:cubicBezTo>
                    <a:cubicBezTo>
                      <a:pt x="21" y="7"/>
                      <a:pt x="9" y="0"/>
                      <a:pt x="0" y="14"/>
                    </a:cubicBezTo>
                    <a:cubicBezTo>
                      <a:pt x="11" y="19"/>
                      <a:pt x="21" y="26"/>
                      <a:pt x="35" y="21"/>
                    </a:cubicBezTo>
                    <a:cubicBezTo>
                      <a:pt x="36" y="21"/>
                      <a:pt x="39" y="23"/>
                      <a:pt x="41" y="24"/>
                    </a:cubicBezTo>
                    <a:cubicBezTo>
                      <a:pt x="57" y="36"/>
                      <a:pt x="76" y="33"/>
                      <a:pt x="96" y="3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6">
                <a:extLst>
                  <a:ext uri="{FF2B5EF4-FFF2-40B4-BE49-F238E27FC236}">
                    <a16:creationId xmlns:a16="http://schemas.microsoft.com/office/drawing/2014/main" id="{6C732BF9-A8F8-41AB-A714-BB91BAA02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0575" y="1570710"/>
                <a:ext cx="142841" cy="83549"/>
              </a:xfrm>
              <a:custGeom>
                <a:avLst/>
                <a:gdLst>
                  <a:gd name="T0" fmla="*/ 52 w 60"/>
                  <a:gd name="T1" fmla="*/ 24 h 35"/>
                  <a:gd name="T2" fmla="*/ 56 w 60"/>
                  <a:gd name="T3" fmla="*/ 14 h 35"/>
                  <a:gd name="T4" fmla="*/ 6 w 60"/>
                  <a:gd name="T5" fmla="*/ 18 h 35"/>
                  <a:gd name="T6" fmla="*/ 0 w 60"/>
                  <a:gd name="T7" fmla="*/ 30 h 35"/>
                  <a:gd name="T8" fmla="*/ 52 w 60"/>
                  <a:gd name="T9" fmla="*/ 2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35">
                    <a:moveTo>
                      <a:pt x="52" y="24"/>
                    </a:moveTo>
                    <a:cubicBezTo>
                      <a:pt x="57" y="23"/>
                      <a:pt x="60" y="19"/>
                      <a:pt x="56" y="14"/>
                    </a:cubicBezTo>
                    <a:cubicBezTo>
                      <a:pt x="43" y="0"/>
                      <a:pt x="16" y="3"/>
                      <a:pt x="6" y="18"/>
                    </a:cubicBezTo>
                    <a:cubicBezTo>
                      <a:pt x="4" y="22"/>
                      <a:pt x="2" y="25"/>
                      <a:pt x="0" y="30"/>
                    </a:cubicBezTo>
                    <a:cubicBezTo>
                      <a:pt x="19" y="35"/>
                      <a:pt x="35" y="27"/>
                      <a:pt x="52" y="2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7">
                <a:extLst>
                  <a:ext uri="{FF2B5EF4-FFF2-40B4-BE49-F238E27FC236}">
                    <a16:creationId xmlns:a16="http://schemas.microsoft.com/office/drawing/2014/main" id="{F3174117-7A8E-8967-4C65-4CCDA9DD3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31389" y="2888627"/>
                <a:ext cx="145537" cy="114543"/>
              </a:xfrm>
              <a:custGeom>
                <a:avLst/>
                <a:gdLst>
                  <a:gd name="T0" fmla="*/ 19 w 61"/>
                  <a:gd name="T1" fmla="*/ 8 h 48"/>
                  <a:gd name="T2" fmla="*/ 8 w 61"/>
                  <a:gd name="T3" fmla="*/ 29 h 48"/>
                  <a:gd name="T4" fmla="*/ 6 w 61"/>
                  <a:gd name="T5" fmla="*/ 48 h 48"/>
                  <a:gd name="T6" fmla="*/ 21 w 61"/>
                  <a:gd name="T7" fmla="*/ 37 h 48"/>
                  <a:gd name="T8" fmla="*/ 29 w 61"/>
                  <a:gd name="T9" fmla="*/ 41 h 48"/>
                  <a:gd name="T10" fmla="*/ 57 w 61"/>
                  <a:gd name="T11" fmla="*/ 25 h 48"/>
                  <a:gd name="T12" fmla="*/ 55 w 61"/>
                  <a:gd name="T13" fmla="*/ 17 h 48"/>
                  <a:gd name="T14" fmla="*/ 26 w 61"/>
                  <a:gd name="T15" fmla="*/ 4 h 48"/>
                  <a:gd name="T16" fmla="*/ 21 w 61"/>
                  <a:gd name="T17" fmla="*/ 2 h 48"/>
                  <a:gd name="T18" fmla="*/ 19 w 61"/>
                  <a:gd name="T19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8">
                    <a:moveTo>
                      <a:pt x="19" y="8"/>
                    </a:moveTo>
                    <a:cubicBezTo>
                      <a:pt x="18" y="16"/>
                      <a:pt x="17" y="24"/>
                      <a:pt x="8" y="29"/>
                    </a:cubicBezTo>
                    <a:cubicBezTo>
                      <a:pt x="1" y="33"/>
                      <a:pt x="0" y="40"/>
                      <a:pt x="6" y="48"/>
                    </a:cubicBezTo>
                    <a:cubicBezTo>
                      <a:pt x="4" y="33"/>
                      <a:pt x="14" y="38"/>
                      <a:pt x="21" y="37"/>
                    </a:cubicBezTo>
                    <a:cubicBezTo>
                      <a:pt x="25" y="37"/>
                      <a:pt x="28" y="41"/>
                      <a:pt x="29" y="41"/>
                    </a:cubicBezTo>
                    <a:cubicBezTo>
                      <a:pt x="36" y="32"/>
                      <a:pt x="49" y="33"/>
                      <a:pt x="57" y="25"/>
                    </a:cubicBezTo>
                    <a:cubicBezTo>
                      <a:pt x="61" y="20"/>
                      <a:pt x="57" y="17"/>
                      <a:pt x="55" y="17"/>
                    </a:cubicBezTo>
                    <a:cubicBezTo>
                      <a:pt x="40" y="24"/>
                      <a:pt x="34" y="11"/>
                      <a:pt x="26" y="4"/>
                    </a:cubicBezTo>
                    <a:cubicBezTo>
                      <a:pt x="25" y="3"/>
                      <a:pt x="24" y="0"/>
                      <a:pt x="21" y="2"/>
                    </a:cubicBezTo>
                    <a:cubicBezTo>
                      <a:pt x="19" y="3"/>
                      <a:pt x="19" y="5"/>
                      <a:pt x="19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8">
                <a:extLst>
                  <a:ext uri="{FF2B5EF4-FFF2-40B4-BE49-F238E27FC236}">
                    <a16:creationId xmlns:a16="http://schemas.microsoft.com/office/drawing/2014/main" id="{F62CBBF9-94AD-FB75-371C-FE4E11554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3924" y="4062355"/>
                <a:ext cx="109154" cy="111847"/>
              </a:xfrm>
              <a:custGeom>
                <a:avLst/>
                <a:gdLst>
                  <a:gd name="T0" fmla="*/ 7 w 46"/>
                  <a:gd name="T1" fmla="*/ 17 h 47"/>
                  <a:gd name="T2" fmla="*/ 8 w 46"/>
                  <a:gd name="T3" fmla="*/ 36 h 47"/>
                  <a:gd name="T4" fmla="*/ 20 w 46"/>
                  <a:gd name="T5" fmla="*/ 29 h 47"/>
                  <a:gd name="T6" fmla="*/ 27 w 46"/>
                  <a:gd name="T7" fmla="*/ 40 h 47"/>
                  <a:gd name="T8" fmla="*/ 34 w 46"/>
                  <a:gd name="T9" fmla="*/ 45 h 47"/>
                  <a:gd name="T10" fmla="*/ 38 w 46"/>
                  <a:gd name="T11" fmla="*/ 37 h 47"/>
                  <a:gd name="T12" fmla="*/ 36 w 46"/>
                  <a:gd name="T13" fmla="*/ 25 h 47"/>
                  <a:gd name="T14" fmla="*/ 39 w 46"/>
                  <a:gd name="T15" fmla="*/ 14 h 47"/>
                  <a:gd name="T16" fmla="*/ 46 w 46"/>
                  <a:gd name="T17" fmla="*/ 8 h 47"/>
                  <a:gd name="T18" fmla="*/ 14 w 46"/>
                  <a:gd name="T19" fmla="*/ 5 h 47"/>
                  <a:gd name="T20" fmla="*/ 7 w 46"/>
                  <a:gd name="T2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47">
                    <a:moveTo>
                      <a:pt x="7" y="17"/>
                    </a:moveTo>
                    <a:cubicBezTo>
                      <a:pt x="2" y="24"/>
                      <a:pt x="0" y="30"/>
                      <a:pt x="8" y="36"/>
                    </a:cubicBezTo>
                    <a:cubicBezTo>
                      <a:pt x="17" y="43"/>
                      <a:pt x="14" y="28"/>
                      <a:pt x="20" y="29"/>
                    </a:cubicBezTo>
                    <a:cubicBezTo>
                      <a:pt x="25" y="31"/>
                      <a:pt x="24" y="36"/>
                      <a:pt x="27" y="40"/>
                    </a:cubicBezTo>
                    <a:cubicBezTo>
                      <a:pt x="29" y="42"/>
                      <a:pt x="30" y="47"/>
                      <a:pt x="34" y="45"/>
                    </a:cubicBezTo>
                    <a:cubicBezTo>
                      <a:pt x="38" y="44"/>
                      <a:pt x="41" y="40"/>
                      <a:pt x="38" y="37"/>
                    </a:cubicBezTo>
                    <a:cubicBezTo>
                      <a:pt x="36" y="33"/>
                      <a:pt x="41" y="29"/>
                      <a:pt x="36" y="25"/>
                    </a:cubicBezTo>
                    <a:cubicBezTo>
                      <a:pt x="29" y="20"/>
                      <a:pt x="35" y="16"/>
                      <a:pt x="39" y="14"/>
                    </a:cubicBezTo>
                    <a:cubicBezTo>
                      <a:pt x="41" y="12"/>
                      <a:pt x="46" y="13"/>
                      <a:pt x="46" y="8"/>
                    </a:cubicBezTo>
                    <a:cubicBezTo>
                      <a:pt x="36" y="0"/>
                      <a:pt x="22" y="25"/>
                      <a:pt x="14" y="5"/>
                    </a:cubicBezTo>
                    <a:cubicBezTo>
                      <a:pt x="6" y="6"/>
                      <a:pt x="11" y="14"/>
                      <a:pt x="7" y="1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9">
                <a:extLst>
                  <a:ext uri="{FF2B5EF4-FFF2-40B4-BE49-F238E27FC236}">
                    <a16:creationId xmlns:a16="http://schemas.microsoft.com/office/drawing/2014/main" id="{877ACF9A-D469-6250-1238-45826F2B6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6242" y="3484250"/>
                <a:ext cx="207525" cy="88939"/>
              </a:xfrm>
              <a:custGeom>
                <a:avLst/>
                <a:gdLst>
                  <a:gd name="T0" fmla="*/ 22 w 87"/>
                  <a:gd name="T1" fmla="*/ 4 h 37"/>
                  <a:gd name="T2" fmla="*/ 0 w 87"/>
                  <a:gd name="T3" fmla="*/ 9 h 37"/>
                  <a:gd name="T4" fmla="*/ 7 w 87"/>
                  <a:gd name="T5" fmla="*/ 7 h 37"/>
                  <a:gd name="T6" fmla="*/ 52 w 87"/>
                  <a:gd name="T7" fmla="*/ 29 h 37"/>
                  <a:gd name="T8" fmla="*/ 77 w 87"/>
                  <a:gd name="T9" fmla="*/ 36 h 37"/>
                  <a:gd name="T10" fmla="*/ 85 w 87"/>
                  <a:gd name="T11" fmla="*/ 33 h 37"/>
                  <a:gd name="T12" fmla="*/ 79 w 87"/>
                  <a:gd name="T13" fmla="*/ 26 h 37"/>
                  <a:gd name="T14" fmla="*/ 22 w 87"/>
                  <a:gd name="T15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7" h="37">
                    <a:moveTo>
                      <a:pt x="22" y="4"/>
                    </a:moveTo>
                    <a:cubicBezTo>
                      <a:pt x="15" y="1"/>
                      <a:pt x="6" y="0"/>
                      <a:pt x="0" y="9"/>
                    </a:cubicBezTo>
                    <a:cubicBezTo>
                      <a:pt x="2" y="7"/>
                      <a:pt x="5" y="5"/>
                      <a:pt x="7" y="7"/>
                    </a:cubicBezTo>
                    <a:cubicBezTo>
                      <a:pt x="21" y="17"/>
                      <a:pt x="40" y="16"/>
                      <a:pt x="52" y="29"/>
                    </a:cubicBezTo>
                    <a:cubicBezTo>
                      <a:pt x="59" y="37"/>
                      <a:pt x="68" y="36"/>
                      <a:pt x="77" y="36"/>
                    </a:cubicBezTo>
                    <a:cubicBezTo>
                      <a:pt x="80" y="36"/>
                      <a:pt x="84" y="37"/>
                      <a:pt x="85" y="33"/>
                    </a:cubicBezTo>
                    <a:cubicBezTo>
                      <a:pt x="87" y="28"/>
                      <a:pt x="82" y="28"/>
                      <a:pt x="79" y="26"/>
                    </a:cubicBezTo>
                    <a:cubicBezTo>
                      <a:pt x="60" y="19"/>
                      <a:pt x="41" y="10"/>
                      <a:pt x="22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40">
                <a:extLst>
                  <a:ext uri="{FF2B5EF4-FFF2-40B4-BE49-F238E27FC236}">
                    <a16:creationId xmlns:a16="http://schemas.microsoft.com/office/drawing/2014/main" id="{502BD47F-B643-093A-FB56-68CF8A73F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4778" y="3823835"/>
                <a:ext cx="130714" cy="97025"/>
              </a:xfrm>
              <a:custGeom>
                <a:avLst/>
                <a:gdLst>
                  <a:gd name="T0" fmla="*/ 46 w 55"/>
                  <a:gd name="T1" fmla="*/ 10 h 41"/>
                  <a:gd name="T2" fmla="*/ 34 w 55"/>
                  <a:gd name="T3" fmla="*/ 6 h 41"/>
                  <a:gd name="T4" fmla="*/ 22 w 55"/>
                  <a:gd name="T5" fmla="*/ 14 h 41"/>
                  <a:gd name="T6" fmla="*/ 0 w 55"/>
                  <a:gd name="T7" fmla="*/ 27 h 41"/>
                  <a:gd name="T8" fmla="*/ 24 w 55"/>
                  <a:gd name="T9" fmla="*/ 36 h 41"/>
                  <a:gd name="T10" fmla="*/ 34 w 55"/>
                  <a:gd name="T11" fmla="*/ 41 h 41"/>
                  <a:gd name="T12" fmla="*/ 36 w 55"/>
                  <a:gd name="T13" fmla="*/ 34 h 41"/>
                  <a:gd name="T14" fmla="*/ 38 w 55"/>
                  <a:gd name="T15" fmla="*/ 29 h 41"/>
                  <a:gd name="T16" fmla="*/ 46 w 55"/>
                  <a:gd name="T17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1">
                    <a:moveTo>
                      <a:pt x="46" y="10"/>
                    </a:moveTo>
                    <a:cubicBezTo>
                      <a:pt x="45" y="0"/>
                      <a:pt x="40" y="2"/>
                      <a:pt x="34" y="6"/>
                    </a:cubicBezTo>
                    <a:cubicBezTo>
                      <a:pt x="30" y="9"/>
                      <a:pt x="28" y="17"/>
                      <a:pt x="22" y="14"/>
                    </a:cubicBezTo>
                    <a:cubicBezTo>
                      <a:pt x="10" y="9"/>
                      <a:pt x="7" y="18"/>
                      <a:pt x="0" y="27"/>
                    </a:cubicBezTo>
                    <a:cubicBezTo>
                      <a:pt x="14" y="22"/>
                      <a:pt x="23" y="20"/>
                      <a:pt x="24" y="36"/>
                    </a:cubicBezTo>
                    <a:cubicBezTo>
                      <a:pt x="24" y="41"/>
                      <a:pt x="30" y="41"/>
                      <a:pt x="34" y="41"/>
                    </a:cubicBezTo>
                    <a:cubicBezTo>
                      <a:pt x="41" y="40"/>
                      <a:pt x="36" y="37"/>
                      <a:pt x="36" y="34"/>
                    </a:cubicBezTo>
                    <a:cubicBezTo>
                      <a:pt x="35" y="32"/>
                      <a:pt x="36" y="30"/>
                      <a:pt x="38" y="29"/>
                    </a:cubicBezTo>
                    <a:cubicBezTo>
                      <a:pt x="55" y="28"/>
                      <a:pt x="46" y="17"/>
                      <a:pt x="46" y="1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41">
                <a:extLst>
                  <a:ext uri="{FF2B5EF4-FFF2-40B4-BE49-F238E27FC236}">
                    <a16:creationId xmlns:a16="http://schemas.microsoft.com/office/drawing/2014/main" id="{EBA0AA01-472A-5B34-F826-4CE0CCFB2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43236" y="5087852"/>
                <a:ext cx="80854" cy="98372"/>
              </a:xfrm>
              <a:custGeom>
                <a:avLst/>
                <a:gdLst>
                  <a:gd name="T0" fmla="*/ 22 w 34"/>
                  <a:gd name="T1" fmla="*/ 6 h 41"/>
                  <a:gd name="T2" fmla="*/ 0 w 34"/>
                  <a:gd name="T3" fmla="*/ 5 h 41"/>
                  <a:gd name="T4" fmla="*/ 4 w 34"/>
                  <a:gd name="T5" fmla="*/ 27 h 41"/>
                  <a:gd name="T6" fmla="*/ 18 w 34"/>
                  <a:gd name="T7" fmla="*/ 38 h 41"/>
                  <a:gd name="T8" fmla="*/ 34 w 34"/>
                  <a:gd name="T9" fmla="*/ 14 h 41"/>
                  <a:gd name="T10" fmla="*/ 22 w 34"/>
                  <a:gd name="T11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41">
                    <a:moveTo>
                      <a:pt x="22" y="6"/>
                    </a:moveTo>
                    <a:cubicBezTo>
                      <a:pt x="14" y="12"/>
                      <a:pt x="8" y="8"/>
                      <a:pt x="0" y="5"/>
                    </a:cubicBezTo>
                    <a:cubicBezTo>
                      <a:pt x="1" y="14"/>
                      <a:pt x="3" y="20"/>
                      <a:pt x="4" y="27"/>
                    </a:cubicBezTo>
                    <a:cubicBezTo>
                      <a:pt x="4" y="34"/>
                      <a:pt x="12" y="41"/>
                      <a:pt x="18" y="38"/>
                    </a:cubicBezTo>
                    <a:cubicBezTo>
                      <a:pt x="26" y="33"/>
                      <a:pt x="34" y="25"/>
                      <a:pt x="34" y="14"/>
                    </a:cubicBezTo>
                    <a:cubicBezTo>
                      <a:pt x="34" y="6"/>
                      <a:pt x="29" y="0"/>
                      <a:pt x="22" y="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42">
                <a:extLst>
                  <a:ext uri="{FF2B5EF4-FFF2-40B4-BE49-F238E27FC236}">
                    <a16:creationId xmlns:a16="http://schemas.microsoft.com/office/drawing/2014/main" id="{7FABD90C-62D0-0971-ED5B-121C505E1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8181" y="3610921"/>
                <a:ext cx="74116" cy="119933"/>
              </a:xfrm>
              <a:custGeom>
                <a:avLst/>
                <a:gdLst>
                  <a:gd name="T0" fmla="*/ 7 w 31"/>
                  <a:gd name="T1" fmla="*/ 25 h 50"/>
                  <a:gd name="T2" fmla="*/ 12 w 31"/>
                  <a:gd name="T3" fmla="*/ 44 h 50"/>
                  <a:gd name="T4" fmla="*/ 23 w 31"/>
                  <a:gd name="T5" fmla="*/ 46 h 50"/>
                  <a:gd name="T6" fmla="*/ 29 w 31"/>
                  <a:gd name="T7" fmla="*/ 17 h 50"/>
                  <a:gd name="T8" fmla="*/ 19 w 31"/>
                  <a:gd name="T9" fmla="*/ 1 h 50"/>
                  <a:gd name="T10" fmla="*/ 11 w 31"/>
                  <a:gd name="T11" fmla="*/ 13 h 50"/>
                  <a:gd name="T12" fmla="*/ 7 w 31"/>
                  <a:gd name="T13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0">
                    <a:moveTo>
                      <a:pt x="7" y="25"/>
                    </a:moveTo>
                    <a:cubicBezTo>
                      <a:pt x="0" y="33"/>
                      <a:pt x="12" y="37"/>
                      <a:pt x="12" y="44"/>
                    </a:cubicBezTo>
                    <a:cubicBezTo>
                      <a:pt x="12" y="50"/>
                      <a:pt x="19" y="45"/>
                      <a:pt x="23" y="46"/>
                    </a:cubicBezTo>
                    <a:cubicBezTo>
                      <a:pt x="22" y="36"/>
                      <a:pt x="25" y="27"/>
                      <a:pt x="29" y="17"/>
                    </a:cubicBezTo>
                    <a:cubicBezTo>
                      <a:pt x="31" y="10"/>
                      <a:pt x="29" y="2"/>
                      <a:pt x="19" y="1"/>
                    </a:cubicBezTo>
                    <a:cubicBezTo>
                      <a:pt x="8" y="0"/>
                      <a:pt x="11" y="8"/>
                      <a:pt x="11" y="13"/>
                    </a:cubicBezTo>
                    <a:cubicBezTo>
                      <a:pt x="11" y="17"/>
                      <a:pt x="11" y="21"/>
                      <a:pt x="7" y="2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43">
                <a:extLst>
                  <a:ext uri="{FF2B5EF4-FFF2-40B4-BE49-F238E27FC236}">
                    <a16:creationId xmlns:a16="http://schemas.microsoft.com/office/drawing/2014/main" id="{E56769B8-A570-7329-2C9F-62532426F7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0504" y="3563757"/>
                <a:ext cx="136104" cy="61987"/>
              </a:xfrm>
              <a:custGeom>
                <a:avLst/>
                <a:gdLst>
                  <a:gd name="T0" fmla="*/ 57 w 57"/>
                  <a:gd name="T1" fmla="*/ 16 h 26"/>
                  <a:gd name="T2" fmla="*/ 25 w 57"/>
                  <a:gd name="T3" fmla="*/ 5 h 26"/>
                  <a:gd name="T4" fmla="*/ 15 w 57"/>
                  <a:gd name="T5" fmla="*/ 17 h 26"/>
                  <a:gd name="T6" fmla="*/ 0 w 57"/>
                  <a:gd name="T7" fmla="*/ 18 h 26"/>
                  <a:gd name="T8" fmla="*/ 57 w 57"/>
                  <a:gd name="T9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26">
                    <a:moveTo>
                      <a:pt x="57" y="16"/>
                    </a:moveTo>
                    <a:cubicBezTo>
                      <a:pt x="47" y="6"/>
                      <a:pt x="35" y="8"/>
                      <a:pt x="25" y="5"/>
                    </a:cubicBezTo>
                    <a:cubicBezTo>
                      <a:pt x="9" y="0"/>
                      <a:pt x="8" y="4"/>
                      <a:pt x="15" y="17"/>
                    </a:cubicBezTo>
                    <a:cubicBezTo>
                      <a:pt x="9" y="18"/>
                      <a:pt x="5" y="18"/>
                      <a:pt x="0" y="18"/>
                    </a:cubicBezTo>
                    <a:cubicBezTo>
                      <a:pt x="20" y="26"/>
                      <a:pt x="38" y="22"/>
                      <a:pt x="57" y="1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44">
                <a:extLst>
                  <a:ext uri="{FF2B5EF4-FFF2-40B4-BE49-F238E27FC236}">
                    <a16:creationId xmlns:a16="http://schemas.microsoft.com/office/drawing/2014/main" id="{DC5A993F-F08A-5800-60FE-96770A54A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098" y="3827880"/>
                <a:ext cx="56597" cy="92982"/>
              </a:xfrm>
              <a:custGeom>
                <a:avLst/>
                <a:gdLst>
                  <a:gd name="T0" fmla="*/ 8 w 24"/>
                  <a:gd name="T1" fmla="*/ 0 h 39"/>
                  <a:gd name="T2" fmla="*/ 5 w 24"/>
                  <a:gd name="T3" fmla="*/ 1 h 39"/>
                  <a:gd name="T4" fmla="*/ 9 w 24"/>
                  <a:gd name="T5" fmla="*/ 37 h 39"/>
                  <a:gd name="T6" fmla="*/ 14 w 24"/>
                  <a:gd name="T7" fmla="*/ 38 h 39"/>
                  <a:gd name="T8" fmla="*/ 23 w 24"/>
                  <a:gd name="T9" fmla="*/ 22 h 39"/>
                  <a:gd name="T10" fmla="*/ 8 w 2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39">
                    <a:moveTo>
                      <a:pt x="8" y="0"/>
                    </a:moveTo>
                    <a:cubicBezTo>
                      <a:pt x="7" y="1"/>
                      <a:pt x="6" y="1"/>
                      <a:pt x="5" y="1"/>
                    </a:cubicBezTo>
                    <a:cubicBezTo>
                      <a:pt x="0" y="5"/>
                      <a:pt x="3" y="34"/>
                      <a:pt x="9" y="37"/>
                    </a:cubicBezTo>
                    <a:cubicBezTo>
                      <a:pt x="10" y="38"/>
                      <a:pt x="12" y="39"/>
                      <a:pt x="14" y="38"/>
                    </a:cubicBezTo>
                    <a:cubicBezTo>
                      <a:pt x="21" y="34"/>
                      <a:pt x="24" y="29"/>
                      <a:pt x="23" y="22"/>
                    </a:cubicBezTo>
                    <a:cubicBezTo>
                      <a:pt x="21" y="13"/>
                      <a:pt x="16" y="6"/>
                      <a:pt x="8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47DE58AF-1233-56D3-EBEC-F90C23E8D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00145" y="1873911"/>
                <a:ext cx="1348" cy="1347"/>
              </a:xfrm>
              <a:prstGeom prst="ellipse">
                <a:avLst/>
              </a:pr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46">
                <a:extLst>
                  <a:ext uri="{FF2B5EF4-FFF2-40B4-BE49-F238E27FC236}">
                    <a16:creationId xmlns:a16="http://schemas.microsoft.com/office/drawing/2014/main" id="{DC833C92-BFB9-F8F9-E1BE-ED37AB8B1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796" y="1841569"/>
                <a:ext cx="99719" cy="66030"/>
              </a:xfrm>
              <a:custGeom>
                <a:avLst/>
                <a:gdLst>
                  <a:gd name="T0" fmla="*/ 28 w 42"/>
                  <a:gd name="T1" fmla="*/ 26 h 28"/>
                  <a:gd name="T2" fmla="*/ 32 w 42"/>
                  <a:gd name="T3" fmla="*/ 20 h 28"/>
                  <a:gd name="T4" fmla="*/ 42 w 42"/>
                  <a:gd name="T5" fmla="*/ 18 h 28"/>
                  <a:gd name="T6" fmla="*/ 13 w 42"/>
                  <a:gd name="T7" fmla="*/ 6 h 28"/>
                  <a:gd name="T8" fmla="*/ 1 w 42"/>
                  <a:gd name="T9" fmla="*/ 14 h 28"/>
                  <a:gd name="T10" fmla="*/ 28 w 42"/>
                  <a:gd name="T11" fmla="*/ 2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28">
                    <a:moveTo>
                      <a:pt x="28" y="26"/>
                    </a:moveTo>
                    <a:cubicBezTo>
                      <a:pt x="25" y="21"/>
                      <a:pt x="29" y="21"/>
                      <a:pt x="32" y="20"/>
                    </a:cubicBezTo>
                    <a:cubicBezTo>
                      <a:pt x="35" y="19"/>
                      <a:pt x="41" y="23"/>
                      <a:pt x="42" y="18"/>
                    </a:cubicBezTo>
                    <a:cubicBezTo>
                      <a:pt x="36" y="4"/>
                      <a:pt x="22" y="11"/>
                      <a:pt x="13" y="6"/>
                    </a:cubicBezTo>
                    <a:cubicBezTo>
                      <a:pt x="2" y="0"/>
                      <a:pt x="0" y="4"/>
                      <a:pt x="1" y="14"/>
                    </a:cubicBezTo>
                    <a:cubicBezTo>
                      <a:pt x="9" y="20"/>
                      <a:pt x="16" y="28"/>
                      <a:pt x="28" y="2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47">
                <a:extLst>
                  <a:ext uri="{FF2B5EF4-FFF2-40B4-BE49-F238E27FC236}">
                    <a16:creationId xmlns:a16="http://schemas.microsoft.com/office/drawing/2014/main" id="{5D692338-6C43-8FE8-7CDF-FC25E3CA8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4827" y="190355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48">
                <a:extLst>
                  <a:ext uri="{FF2B5EF4-FFF2-40B4-BE49-F238E27FC236}">
                    <a16:creationId xmlns:a16="http://schemas.microsoft.com/office/drawing/2014/main" id="{E92067F6-9A4D-F521-3800-95A3E7C06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083" y="3703903"/>
                <a:ext cx="101068" cy="110500"/>
              </a:xfrm>
              <a:custGeom>
                <a:avLst/>
                <a:gdLst>
                  <a:gd name="T0" fmla="*/ 31 w 42"/>
                  <a:gd name="T1" fmla="*/ 46 h 46"/>
                  <a:gd name="T2" fmla="*/ 35 w 42"/>
                  <a:gd name="T3" fmla="*/ 26 h 46"/>
                  <a:gd name="T4" fmla="*/ 0 w 42"/>
                  <a:gd name="T5" fmla="*/ 7 h 46"/>
                  <a:gd name="T6" fmla="*/ 31 w 42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6">
                    <a:moveTo>
                      <a:pt x="31" y="46"/>
                    </a:moveTo>
                    <a:cubicBezTo>
                      <a:pt x="38" y="39"/>
                      <a:pt x="42" y="31"/>
                      <a:pt x="35" y="26"/>
                    </a:cubicBezTo>
                    <a:cubicBezTo>
                      <a:pt x="24" y="18"/>
                      <a:pt x="19" y="0"/>
                      <a:pt x="0" y="7"/>
                    </a:cubicBezTo>
                    <a:cubicBezTo>
                      <a:pt x="19" y="13"/>
                      <a:pt x="21" y="33"/>
                      <a:pt x="31" y="4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49">
                <a:extLst>
                  <a:ext uri="{FF2B5EF4-FFF2-40B4-BE49-F238E27FC236}">
                    <a16:creationId xmlns:a16="http://schemas.microsoft.com/office/drawing/2014/main" id="{AE7850BB-B8ED-B2EB-6D9D-4A04F016A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083" y="372142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50">
                <a:extLst>
                  <a:ext uri="{FF2B5EF4-FFF2-40B4-BE49-F238E27FC236}">
                    <a16:creationId xmlns:a16="http://schemas.microsoft.com/office/drawing/2014/main" id="{6443CCCA-16D7-1BBD-36F7-5E1081C44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7789" y="1597661"/>
                <a:ext cx="79507" cy="56597"/>
              </a:xfrm>
              <a:custGeom>
                <a:avLst/>
                <a:gdLst>
                  <a:gd name="T0" fmla="*/ 27 w 33"/>
                  <a:gd name="T1" fmla="*/ 20 h 24"/>
                  <a:gd name="T2" fmla="*/ 32 w 33"/>
                  <a:gd name="T3" fmla="*/ 15 h 24"/>
                  <a:gd name="T4" fmla="*/ 30 w 33"/>
                  <a:gd name="T5" fmla="*/ 9 h 24"/>
                  <a:gd name="T6" fmla="*/ 0 w 33"/>
                  <a:gd name="T7" fmla="*/ 3 h 24"/>
                  <a:gd name="T8" fmla="*/ 27 w 33"/>
                  <a:gd name="T9" fmla="*/ 2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4">
                    <a:moveTo>
                      <a:pt x="27" y="20"/>
                    </a:moveTo>
                    <a:cubicBezTo>
                      <a:pt x="30" y="19"/>
                      <a:pt x="32" y="19"/>
                      <a:pt x="32" y="15"/>
                    </a:cubicBezTo>
                    <a:cubicBezTo>
                      <a:pt x="33" y="12"/>
                      <a:pt x="32" y="8"/>
                      <a:pt x="30" y="9"/>
                    </a:cubicBezTo>
                    <a:cubicBezTo>
                      <a:pt x="19" y="12"/>
                      <a:pt x="11" y="0"/>
                      <a:pt x="0" y="3"/>
                    </a:cubicBezTo>
                    <a:cubicBezTo>
                      <a:pt x="7" y="21"/>
                      <a:pt x="12" y="24"/>
                      <a:pt x="27" y="2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51">
                <a:extLst>
                  <a:ext uri="{FF2B5EF4-FFF2-40B4-BE49-F238E27FC236}">
                    <a16:creationId xmlns:a16="http://schemas.microsoft.com/office/drawing/2014/main" id="{DF7A664E-B646-DE43-703D-223940E54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9053" y="1776886"/>
                <a:ext cx="106458" cy="43122"/>
              </a:xfrm>
              <a:custGeom>
                <a:avLst/>
                <a:gdLst>
                  <a:gd name="T0" fmla="*/ 45 w 45"/>
                  <a:gd name="T1" fmla="*/ 7 h 18"/>
                  <a:gd name="T2" fmla="*/ 3 w 45"/>
                  <a:gd name="T3" fmla="*/ 0 h 18"/>
                  <a:gd name="T4" fmla="*/ 0 w 45"/>
                  <a:gd name="T5" fmla="*/ 2 h 18"/>
                  <a:gd name="T6" fmla="*/ 2 w 45"/>
                  <a:gd name="T7" fmla="*/ 7 h 18"/>
                  <a:gd name="T8" fmla="*/ 45 w 45"/>
                  <a:gd name="T9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18">
                    <a:moveTo>
                      <a:pt x="45" y="7"/>
                    </a:moveTo>
                    <a:cubicBezTo>
                      <a:pt x="30" y="1"/>
                      <a:pt x="15" y="10"/>
                      <a:pt x="3" y="0"/>
                    </a:cubicBezTo>
                    <a:cubicBezTo>
                      <a:pt x="3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2" y="7"/>
                    </a:cubicBezTo>
                    <a:cubicBezTo>
                      <a:pt x="12" y="17"/>
                      <a:pt x="30" y="18"/>
                      <a:pt x="45" y="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52">
                <a:extLst>
                  <a:ext uri="{FF2B5EF4-FFF2-40B4-BE49-F238E27FC236}">
                    <a16:creationId xmlns:a16="http://schemas.microsoft.com/office/drawing/2014/main" id="{CADDD022-627A-DBD8-DAD9-BB298AC78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216" y="1767454"/>
                <a:ext cx="74116" cy="52554"/>
              </a:xfrm>
              <a:custGeom>
                <a:avLst/>
                <a:gdLst>
                  <a:gd name="T0" fmla="*/ 16 w 31"/>
                  <a:gd name="T1" fmla="*/ 2 h 22"/>
                  <a:gd name="T2" fmla="*/ 1 w 31"/>
                  <a:gd name="T3" fmla="*/ 10 h 22"/>
                  <a:gd name="T4" fmla="*/ 13 w 31"/>
                  <a:gd name="T5" fmla="*/ 15 h 22"/>
                  <a:gd name="T6" fmla="*/ 22 w 31"/>
                  <a:gd name="T7" fmla="*/ 19 h 22"/>
                  <a:gd name="T8" fmla="*/ 30 w 31"/>
                  <a:gd name="T9" fmla="*/ 10 h 22"/>
                  <a:gd name="T10" fmla="*/ 16 w 31"/>
                  <a:gd name="T11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2">
                    <a:moveTo>
                      <a:pt x="16" y="2"/>
                    </a:moveTo>
                    <a:cubicBezTo>
                      <a:pt x="11" y="4"/>
                      <a:pt x="1" y="0"/>
                      <a:pt x="1" y="10"/>
                    </a:cubicBezTo>
                    <a:cubicBezTo>
                      <a:pt x="0" y="19"/>
                      <a:pt x="9" y="13"/>
                      <a:pt x="13" y="15"/>
                    </a:cubicBezTo>
                    <a:cubicBezTo>
                      <a:pt x="16" y="17"/>
                      <a:pt x="19" y="18"/>
                      <a:pt x="22" y="19"/>
                    </a:cubicBezTo>
                    <a:cubicBezTo>
                      <a:pt x="31" y="22"/>
                      <a:pt x="31" y="16"/>
                      <a:pt x="30" y="10"/>
                    </a:cubicBezTo>
                    <a:cubicBezTo>
                      <a:pt x="29" y="2"/>
                      <a:pt x="22" y="3"/>
                      <a:pt x="16" y="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53">
                <a:extLst>
                  <a:ext uri="{FF2B5EF4-FFF2-40B4-BE49-F238E27FC236}">
                    <a16:creationId xmlns:a16="http://schemas.microsoft.com/office/drawing/2014/main" id="{B6289BD0-F406-9BBD-B7AC-BDCBCB750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3693" y="2089521"/>
                <a:ext cx="57946" cy="44469"/>
              </a:xfrm>
              <a:custGeom>
                <a:avLst/>
                <a:gdLst>
                  <a:gd name="T0" fmla="*/ 12 w 24"/>
                  <a:gd name="T1" fmla="*/ 18 h 19"/>
                  <a:gd name="T2" fmla="*/ 23 w 24"/>
                  <a:gd name="T3" fmla="*/ 9 h 19"/>
                  <a:gd name="T4" fmla="*/ 11 w 24"/>
                  <a:gd name="T5" fmla="*/ 0 h 19"/>
                  <a:gd name="T6" fmla="*/ 0 w 24"/>
                  <a:gd name="T7" fmla="*/ 11 h 19"/>
                  <a:gd name="T8" fmla="*/ 12 w 24"/>
                  <a:gd name="T9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9">
                    <a:moveTo>
                      <a:pt x="12" y="18"/>
                    </a:moveTo>
                    <a:cubicBezTo>
                      <a:pt x="19" y="19"/>
                      <a:pt x="24" y="17"/>
                      <a:pt x="23" y="9"/>
                    </a:cubicBezTo>
                    <a:cubicBezTo>
                      <a:pt x="23" y="3"/>
                      <a:pt x="18" y="0"/>
                      <a:pt x="11" y="0"/>
                    </a:cubicBezTo>
                    <a:cubicBezTo>
                      <a:pt x="3" y="0"/>
                      <a:pt x="0" y="4"/>
                      <a:pt x="0" y="11"/>
                    </a:cubicBezTo>
                    <a:cubicBezTo>
                      <a:pt x="0" y="19"/>
                      <a:pt x="6" y="18"/>
                      <a:pt x="12" y="1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54">
                <a:extLst>
                  <a:ext uri="{FF2B5EF4-FFF2-40B4-BE49-F238E27FC236}">
                    <a16:creationId xmlns:a16="http://schemas.microsoft.com/office/drawing/2014/main" id="{0F316C77-D08B-3D63-C79E-4E087EFC3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58513" y="1960155"/>
                <a:ext cx="90287" cy="28299"/>
              </a:xfrm>
              <a:custGeom>
                <a:avLst/>
                <a:gdLst>
                  <a:gd name="T0" fmla="*/ 27 w 38"/>
                  <a:gd name="T1" fmla="*/ 12 h 12"/>
                  <a:gd name="T2" fmla="*/ 38 w 38"/>
                  <a:gd name="T3" fmla="*/ 6 h 12"/>
                  <a:gd name="T4" fmla="*/ 26 w 38"/>
                  <a:gd name="T5" fmla="*/ 0 h 12"/>
                  <a:gd name="T6" fmla="*/ 0 w 38"/>
                  <a:gd name="T7" fmla="*/ 12 h 12"/>
                  <a:gd name="T8" fmla="*/ 27 w 38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2">
                    <a:moveTo>
                      <a:pt x="27" y="12"/>
                    </a:moveTo>
                    <a:cubicBezTo>
                      <a:pt x="31" y="12"/>
                      <a:pt x="38" y="11"/>
                      <a:pt x="38" y="6"/>
                    </a:cubicBezTo>
                    <a:cubicBezTo>
                      <a:pt x="38" y="1"/>
                      <a:pt x="31" y="1"/>
                      <a:pt x="26" y="0"/>
                    </a:cubicBezTo>
                    <a:cubicBezTo>
                      <a:pt x="18" y="0"/>
                      <a:pt x="10" y="3"/>
                      <a:pt x="0" y="12"/>
                    </a:cubicBezTo>
                    <a:cubicBezTo>
                      <a:pt x="12" y="12"/>
                      <a:pt x="19" y="12"/>
                      <a:pt x="27" y="1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55">
                <a:extLst>
                  <a:ext uri="{FF2B5EF4-FFF2-40B4-BE49-F238E27FC236}">
                    <a16:creationId xmlns:a16="http://schemas.microsoft.com/office/drawing/2014/main" id="{7FD7D3FD-C1EC-0AD2-8BD0-4FE32430E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423" y="1635393"/>
                <a:ext cx="64683" cy="45817"/>
              </a:xfrm>
              <a:custGeom>
                <a:avLst/>
                <a:gdLst>
                  <a:gd name="T0" fmla="*/ 18 w 27"/>
                  <a:gd name="T1" fmla="*/ 4 h 19"/>
                  <a:gd name="T2" fmla="*/ 0 w 27"/>
                  <a:gd name="T3" fmla="*/ 12 h 19"/>
                  <a:gd name="T4" fmla="*/ 13 w 27"/>
                  <a:gd name="T5" fmla="*/ 19 h 19"/>
                  <a:gd name="T6" fmla="*/ 27 w 27"/>
                  <a:gd name="T7" fmla="*/ 8 h 19"/>
                  <a:gd name="T8" fmla="*/ 18 w 27"/>
                  <a:gd name="T9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9">
                    <a:moveTo>
                      <a:pt x="18" y="4"/>
                    </a:moveTo>
                    <a:cubicBezTo>
                      <a:pt x="11" y="4"/>
                      <a:pt x="1" y="2"/>
                      <a:pt x="0" y="12"/>
                    </a:cubicBezTo>
                    <a:cubicBezTo>
                      <a:pt x="0" y="17"/>
                      <a:pt x="7" y="19"/>
                      <a:pt x="13" y="19"/>
                    </a:cubicBezTo>
                    <a:cubicBezTo>
                      <a:pt x="21" y="19"/>
                      <a:pt x="27" y="16"/>
                      <a:pt x="27" y="8"/>
                    </a:cubicBezTo>
                    <a:cubicBezTo>
                      <a:pt x="27" y="0"/>
                      <a:pt x="21" y="6"/>
                      <a:pt x="18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56">
                <a:extLst>
                  <a:ext uri="{FF2B5EF4-FFF2-40B4-BE49-F238E27FC236}">
                    <a16:creationId xmlns:a16="http://schemas.microsoft.com/office/drawing/2014/main" id="{4398D162-CBF1-B5F6-7AF0-E36D7DD9B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083" y="3778019"/>
                <a:ext cx="52555" cy="64683"/>
              </a:xfrm>
              <a:custGeom>
                <a:avLst/>
                <a:gdLst>
                  <a:gd name="T0" fmla="*/ 10 w 22"/>
                  <a:gd name="T1" fmla="*/ 25 h 27"/>
                  <a:gd name="T2" fmla="*/ 15 w 22"/>
                  <a:gd name="T3" fmla="*/ 25 h 27"/>
                  <a:gd name="T4" fmla="*/ 22 w 22"/>
                  <a:gd name="T5" fmla="*/ 15 h 27"/>
                  <a:gd name="T6" fmla="*/ 14 w 22"/>
                  <a:gd name="T7" fmla="*/ 4 h 27"/>
                  <a:gd name="T8" fmla="*/ 3 w 22"/>
                  <a:gd name="T9" fmla="*/ 0 h 27"/>
                  <a:gd name="T10" fmla="*/ 0 w 22"/>
                  <a:gd name="T11" fmla="*/ 5 h 27"/>
                  <a:gd name="T12" fmla="*/ 8 w 22"/>
                  <a:gd name="T13" fmla="*/ 11 h 27"/>
                  <a:gd name="T14" fmla="*/ 11 w 22"/>
                  <a:gd name="T15" fmla="*/ 16 h 27"/>
                  <a:gd name="T16" fmla="*/ 10 w 22"/>
                  <a:gd name="T17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7">
                    <a:moveTo>
                      <a:pt x="10" y="25"/>
                    </a:moveTo>
                    <a:cubicBezTo>
                      <a:pt x="11" y="26"/>
                      <a:pt x="13" y="27"/>
                      <a:pt x="15" y="25"/>
                    </a:cubicBezTo>
                    <a:cubicBezTo>
                      <a:pt x="17" y="22"/>
                      <a:pt x="20" y="18"/>
                      <a:pt x="22" y="15"/>
                    </a:cubicBezTo>
                    <a:cubicBezTo>
                      <a:pt x="19" y="11"/>
                      <a:pt x="17" y="7"/>
                      <a:pt x="14" y="4"/>
                    </a:cubicBezTo>
                    <a:cubicBezTo>
                      <a:pt x="11" y="0"/>
                      <a:pt x="8" y="0"/>
                      <a:pt x="3" y="0"/>
                    </a:cubicBezTo>
                    <a:cubicBezTo>
                      <a:pt x="0" y="0"/>
                      <a:pt x="0" y="3"/>
                      <a:pt x="0" y="5"/>
                    </a:cubicBezTo>
                    <a:cubicBezTo>
                      <a:pt x="0" y="11"/>
                      <a:pt x="3" y="12"/>
                      <a:pt x="8" y="11"/>
                    </a:cubicBezTo>
                    <a:cubicBezTo>
                      <a:pt x="12" y="10"/>
                      <a:pt x="12" y="13"/>
                      <a:pt x="11" y="16"/>
                    </a:cubicBezTo>
                    <a:cubicBezTo>
                      <a:pt x="9" y="19"/>
                      <a:pt x="4" y="21"/>
                      <a:pt x="10" y="2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57">
                <a:extLst>
                  <a:ext uri="{FF2B5EF4-FFF2-40B4-BE49-F238E27FC236}">
                    <a16:creationId xmlns:a16="http://schemas.microsoft.com/office/drawing/2014/main" id="{FF57B076-F2D9-AE9E-F386-2675868874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2377" y="1476379"/>
                <a:ext cx="97025" cy="66030"/>
              </a:xfrm>
              <a:custGeom>
                <a:avLst/>
                <a:gdLst>
                  <a:gd name="T0" fmla="*/ 41 w 41"/>
                  <a:gd name="T1" fmla="*/ 8 h 28"/>
                  <a:gd name="T2" fmla="*/ 0 w 41"/>
                  <a:gd name="T3" fmla="*/ 20 h 28"/>
                  <a:gd name="T4" fmla="*/ 41 w 41"/>
                  <a:gd name="T5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1" h="28">
                    <a:moveTo>
                      <a:pt x="41" y="8"/>
                    </a:moveTo>
                    <a:cubicBezTo>
                      <a:pt x="25" y="0"/>
                      <a:pt x="16" y="16"/>
                      <a:pt x="0" y="20"/>
                    </a:cubicBezTo>
                    <a:cubicBezTo>
                      <a:pt x="20" y="28"/>
                      <a:pt x="28" y="9"/>
                      <a:pt x="41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58">
                <a:extLst>
                  <a:ext uri="{FF2B5EF4-FFF2-40B4-BE49-F238E27FC236}">
                    <a16:creationId xmlns:a16="http://schemas.microsoft.com/office/drawing/2014/main" id="{898A508B-EAD4-AB8A-4CFA-004DF1E66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7479" y="3210695"/>
                <a:ext cx="52555" cy="75464"/>
              </a:xfrm>
              <a:custGeom>
                <a:avLst/>
                <a:gdLst>
                  <a:gd name="T0" fmla="*/ 0 w 22"/>
                  <a:gd name="T1" fmla="*/ 12 h 32"/>
                  <a:gd name="T2" fmla="*/ 8 w 22"/>
                  <a:gd name="T3" fmla="*/ 19 h 32"/>
                  <a:gd name="T4" fmla="*/ 9 w 22"/>
                  <a:gd name="T5" fmla="*/ 30 h 32"/>
                  <a:gd name="T6" fmla="*/ 19 w 22"/>
                  <a:gd name="T7" fmla="*/ 21 h 32"/>
                  <a:gd name="T8" fmla="*/ 15 w 22"/>
                  <a:gd name="T9" fmla="*/ 7 h 32"/>
                  <a:gd name="T10" fmla="*/ 0 w 22"/>
                  <a:gd name="T11" fmla="*/ 1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32">
                    <a:moveTo>
                      <a:pt x="0" y="12"/>
                    </a:moveTo>
                    <a:cubicBezTo>
                      <a:pt x="6" y="11"/>
                      <a:pt x="9" y="12"/>
                      <a:pt x="8" y="19"/>
                    </a:cubicBezTo>
                    <a:cubicBezTo>
                      <a:pt x="7" y="23"/>
                      <a:pt x="3" y="28"/>
                      <a:pt x="9" y="30"/>
                    </a:cubicBezTo>
                    <a:cubicBezTo>
                      <a:pt x="16" y="32"/>
                      <a:pt x="17" y="25"/>
                      <a:pt x="19" y="21"/>
                    </a:cubicBezTo>
                    <a:cubicBezTo>
                      <a:pt x="22" y="16"/>
                      <a:pt x="20" y="11"/>
                      <a:pt x="15" y="7"/>
                    </a:cubicBezTo>
                    <a:cubicBezTo>
                      <a:pt x="7" y="0"/>
                      <a:pt x="4" y="7"/>
                      <a:pt x="0" y="1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59">
                <a:extLst>
                  <a:ext uri="{FF2B5EF4-FFF2-40B4-BE49-F238E27FC236}">
                    <a16:creationId xmlns:a16="http://schemas.microsoft.com/office/drawing/2014/main" id="{C362C155-0B58-5DBE-4471-4C570F68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7046" y="3446518"/>
                <a:ext cx="43122" cy="68725"/>
              </a:xfrm>
              <a:custGeom>
                <a:avLst/>
                <a:gdLst>
                  <a:gd name="T0" fmla="*/ 5 w 18"/>
                  <a:gd name="T1" fmla="*/ 28 h 29"/>
                  <a:gd name="T2" fmla="*/ 18 w 18"/>
                  <a:gd name="T3" fmla="*/ 4 h 29"/>
                  <a:gd name="T4" fmla="*/ 11 w 18"/>
                  <a:gd name="T5" fmla="*/ 1 h 29"/>
                  <a:gd name="T6" fmla="*/ 0 w 18"/>
                  <a:gd name="T7" fmla="*/ 19 h 29"/>
                  <a:gd name="T8" fmla="*/ 5 w 18"/>
                  <a:gd name="T9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9">
                    <a:moveTo>
                      <a:pt x="5" y="28"/>
                    </a:moveTo>
                    <a:cubicBezTo>
                      <a:pt x="14" y="23"/>
                      <a:pt x="14" y="13"/>
                      <a:pt x="18" y="4"/>
                    </a:cubicBezTo>
                    <a:cubicBezTo>
                      <a:pt x="18" y="0"/>
                      <a:pt x="14" y="0"/>
                      <a:pt x="11" y="1"/>
                    </a:cubicBezTo>
                    <a:cubicBezTo>
                      <a:pt x="4" y="4"/>
                      <a:pt x="0" y="11"/>
                      <a:pt x="0" y="19"/>
                    </a:cubicBezTo>
                    <a:cubicBezTo>
                      <a:pt x="0" y="23"/>
                      <a:pt x="3" y="29"/>
                      <a:pt x="5" y="2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60">
                <a:extLst>
                  <a:ext uri="{FF2B5EF4-FFF2-40B4-BE49-F238E27FC236}">
                    <a16:creationId xmlns:a16="http://schemas.microsoft.com/office/drawing/2014/main" id="{73173560-048B-35A3-AD66-18B293D17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7560" y="1851002"/>
                <a:ext cx="74116" cy="40426"/>
              </a:xfrm>
              <a:custGeom>
                <a:avLst/>
                <a:gdLst>
                  <a:gd name="T0" fmla="*/ 23 w 31"/>
                  <a:gd name="T1" fmla="*/ 4 h 17"/>
                  <a:gd name="T2" fmla="*/ 0 w 31"/>
                  <a:gd name="T3" fmla="*/ 8 h 17"/>
                  <a:gd name="T4" fmla="*/ 19 w 31"/>
                  <a:gd name="T5" fmla="*/ 15 h 17"/>
                  <a:gd name="T6" fmla="*/ 30 w 31"/>
                  <a:gd name="T7" fmla="*/ 11 h 17"/>
                  <a:gd name="T8" fmla="*/ 23 w 31"/>
                  <a:gd name="T9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3" y="4"/>
                    </a:moveTo>
                    <a:cubicBezTo>
                      <a:pt x="15" y="0"/>
                      <a:pt x="8" y="1"/>
                      <a:pt x="0" y="8"/>
                    </a:cubicBezTo>
                    <a:cubicBezTo>
                      <a:pt x="7" y="10"/>
                      <a:pt x="13" y="13"/>
                      <a:pt x="19" y="15"/>
                    </a:cubicBezTo>
                    <a:cubicBezTo>
                      <a:pt x="23" y="16"/>
                      <a:pt x="29" y="17"/>
                      <a:pt x="30" y="11"/>
                    </a:cubicBezTo>
                    <a:cubicBezTo>
                      <a:pt x="31" y="8"/>
                      <a:pt x="27" y="6"/>
                      <a:pt x="23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61">
                <a:extLst>
                  <a:ext uri="{FF2B5EF4-FFF2-40B4-BE49-F238E27FC236}">
                    <a16:creationId xmlns:a16="http://schemas.microsoft.com/office/drawing/2014/main" id="{719EFA10-0269-9BC7-4A3F-00F444699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363" y="3081329"/>
                <a:ext cx="72768" cy="59293"/>
              </a:xfrm>
              <a:custGeom>
                <a:avLst/>
                <a:gdLst>
                  <a:gd name="T0" fmla="*/ 24 w 31"/>
                  <a:gd name="T1" fmla="*/ 5 h 25"/>
                  <a:gd name="T2" fmla="*/ 4 w 31"/>
                  <a:gd name="T3" fmla="*/ 7 h 25"/>
                  <a:gd name="T4" fmla="*/ 15 w 31"/>
                  <a:gd name="T5" fmla="*/ 17 h 25"/>
                  <a:gd name="T6" fmla="*/ 26 w 31"/>
                  <a:gd name="T7" fmla="*/ 25 h 25"/>
                  <a:gd name="T8" fmla="*/ 24 w 31"/>
                  <a:gd name="T9" fmla="*/ 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5">
                    <a:moveTo>
                      <a:pt x="24" y="5"/>
                    </a:moveTo>
                    <a:cubicBezTo>
                      <a:pt x="18" y="3"/>
                      <a:pt x="7" y="0"/>
                      <a:pt x="4" y="7"/>
                    </a:cubicBezTo>
                    <a:cubicBezTo>
                      <a:pt x="0" y="14"/>
                      <a:pt x="10" y="15"/>
                      <a:pt x="15" y="17"/>
                    </a:cubicBezTo>
                    <a:cubicBezTo>
                      <a:pt x="18" y="18"/>
                      <a:pt x="20" y="20"/>
                      <a:pt x="26" y="25"/>
                    </a:cubicBezTo>
                    <a:cubicBezTo>
                      <a:pt x="23" y="16"/>
                      <a:pt x="31" y="8"/>
                      <a:pt x="24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62">
                <a:extLst>
                  <a:ext uri="{FF2B5EF4-FFF2-40B4-BE49-F238E27FC236}">
                    <a16:creationId xmlns:a16="http://schemas.microsoft.com/office/drawing/2014/main" id="{38AF6F82-5B6E-E0D7-4F99-0EDC0DEFFB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144" y="3570494"/>
                <a:ext cx="57946" cy="45817"/>
              </a:xfrm>
              <a:custGeom>
                <a:avLst/>
                <a:gdLst>
                  <a:gd name="T0" fmla="*/ 22 w 24"/>
                  <a:gd name="T1" fmla="*/ 6 h 19"/>
                  <a:gd name="T2" fmla="*/ 14 w 24"/>
                  <a:gd name="T3" fmla="*/ 1 h 19"/>
                  <a:gd name="T4" fmla="*/ 1 w 24"/>
                  <a:gd name="T5" fmla="*/ 10 h 19"/>
                  <a:gd name="T6" fmla="*/ 9 w 24"/>
                  <a:gd name="T7" fmla="*/ 18 h 19"/>
                  <a:gd name="T8" fmla="*/ 22 w 24"/>
                  <a:gd name="T9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9">
                    <a:moveTo>
                      <a:pt x="22" y="6"/>
                    </a:moveTo>
                    <a:cubicBezTo>
                      <a:pt x="24" y="0"/>
                      <a:pt x="17" y="4"/>
                      <a:pt x="14" y="1"/>
                    </a:cubicBezTo>
                    <a:cubicBezTo>
                      <a:pt x="9" y="3"/>
                      <a:pt x="2" y="2"/>
                      <a:pt x="1" y="10"/>
                    </a:cubicBezTo>
                    <a:cubicBezTo>
                      <a:pt x="0" y="15"/>
                      <a:pt x="3" y="18"/>
                      <a:pt x="9" y="18"/>
                    </a:cubicBezTo>
                    <a:cubicBezTo>
                      <a:pt x="17" y="19"/>
                      <a:pt x="19" y="11"/>
                      <a:pt x="22" y="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63">
                <a:extLst>
                  <a:ext uri="{FF2B5EF4-FFF2-40B4-BE49-F238E27FC236}">
                    <a16:creationId xmlns:a16="http://schemas.microsoft.com/office/drawing/2014/main" id="{F08618F1-307E-DB80-CCF7-548DEDF7A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8908" y="1457514"/>
                <a:ext cx="74116" cy="47164"/>
              </a:xfrm>
              <a:custGeom>
                <a:avLst/>
                <a:gdLst>
                  <a:gd name="T0" fmla="*/ 31 w 31"/>
                  <a:gd name="T1" fmla="*/ 16 h 20"/>
                  <a:gd name="T2" fmla="*/ 0 w 31"/>
                  <a:gd name="T3" fmla="*/ 19 h 20"/>
                  <a:gd name="T4" fmla="*/ 31 w 31"/>
                  <a:gd name="T5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20">
                    <a:moveTo>
                      <a:pt x="31" y="16"/>
                    </a:moveTo>
                    <a:cubicBezTo>
                      <a:pt x="21" y="11"/>
                      <a:pt x="9" y="0"/>
                      <a:pt x="0" y="19"/>
                    </a:cubicBezTo>
                    <a:cubicBezTo>
                      <a:pt x="11" y="19"/>
                      <a:pt x="21" y="20"/>
                      <a:pt x="31" y="1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64">
                <a:extLst>
                  <a:ext uri="{FF2B5EF4-FFF2-40B4-BE49-F238E27FC236}">
                    <a16:creationId xmlns:a16="http://schemas.microsoft.com/office/drawing/2014/main" id="{17FFD071-60A1-40A2-72D7-620EC76DAC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0189" y="1483117"/>
                <a:ext cx="68726" cy="36383"/>
              </a:xfrm>
              <a:custGeom>
                <a:avLst/>
                <a:gdLst>
                  <a:gd name="T0" fmla="*/ 14 w 29"/>
                  <a:gd name="T1" fmla="*/ 14 h 15"/>
                  <a:gd name="T2" fmla="*/ 29 w 29"/>
                  <a:gd name="T3" fmla="*/ 6 h 15"/>
                  <a:gd name="T4" fmla="*/ 13 w 29"/>
                  <a:gd name="T5" fmla="*/ 1 h 15"/>
                  <a:gd name="T6" fmla="*/ 1 w 29"/>
                  <a:gd name="T7" fmla="*/ 10 h 15"/>
                  <a:gd name="T8" fmla="*/ 14 w 29"/>
                  <a:gd name="T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14" y="14"/>
                    </a:moveTo>
                    <a:cubicBezTo>
                      <a:pt x="20" y="13"/>
                      <a:pt x="23" y="9"/>
                      <a:pt x="29" y="6"/>
                    </a:cubicBezTo>
                    <a:cubicBezTo>
                      <a:pt x="23" y="1"/>
                      <a:pt x="17" y="0"/>
                      <a:pt x="13" y="1"/>
                    </a:cubicBezTo>
                    <a:cubicBezTo>
                      <a:pt x="7" y="1"/>
                      <a:pt x="0" y="5"/>
                      <a:pt x="1" y="10"/>
                    </a:cubicBezTo>
                    <a:cubicBezTo>
                      <a:pt x="2" y="15"/>
                      <a:pt x="9" y="14"/>
                      <a:pt x="14" y="1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65">
                <a:extLst>
                  <a:ext uri="{FF2B5EF4-FFF2-40B4-BE49-F238E27FC236}">
                    <a16:creationId xmlns:a16="http://schemas.microsoft.com/office/drawing/2014/main" id="{D47A2E30-258D-E578-2B0C-129B275DF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5252" y="3012604"/>
                <a:ext cx="43122" cy="56597"/>
              </a:xfrm>
              <a:custGeom>
                <a:avLst/>
                <a:gdLst>
                  <a:gd name="T0" fmla="*/ 9 w 18"/>
                  <a:gd name="T1" fmla="*/ 23 h 24"/>
                  <a:gd name="T2" fmla="*/ 18 w 18"/>
                  <a:gd name="T3" fmla="*/ 11 h 24"/>
                  <a:gd name="T4" fmla="*/ 11 w 18"/>
                  <a:gd name="T5" fmla="*/ 1 h 24"/>
                  <a:gd name="T6" fmla="*/ 6 w 18"/>
                  <a:gd name="T7" fmla="*/ 13 h 24"/>
                  <a:gd name="T8" fmla="*/ 9 w 18"/>
                  <a:gd name="T9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4">
                    <a:moveTo>
                      <a:pt x="9" y="23"/>
                    </a:moveTo>
                    <a:cubicBezTo>
                      <a:pt x="15" y="23"/>
                      <a:pt x="18" y="18"/>
                      <a:pt x="18" y="11"/>
                    </a:cubicBezTo>
                    <a:cubicBezTo>
                      <a:pt x="18" y="6"/>
                      <a:pt x="18" y="0"/>
                      <a:pt x="11" y="1"/>
                    </a:cubicBezTo>
                    <a:cubicBezTo>
                      <a:pt x="5" y="1"/>
                      <a:pt x="0" y="6"/>
                      <a:pt x="6" y="13"/>
                    </a:cubicBezTo>
                    <a:cubicBezTo>
                      <a:pt x="3" y="18"/>
                      <a:pt x="4" y="24"/>
                      <a:pt x="9" y="2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66">
                <a:extLst>
                  <a:ext uri="{FF2B5EF4-FFF2-40B4-BE49-F238E27FC236}">
                    <a16:creationId xmlns:a16="http://schemas.microsoft.com/office/drawing/2014/main" id="{0DB2CFE2-BED5-68F5-D861-A3CE320B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8120" y="3198567"/>
                <a:ext cx="59293" cy="49860"/>
              </a:xfrm>
              <a:custGeom>
                <a:avLst/>
                <a:gdLst>
                  <a:gd name="T0" fmla="*/ 6 w 25"/>
                  <a:gd name="T1" fmla="*/ 19 h 21"/>
                  <a:gd name="T2" fmla="*/ 25 w 25"/>
                  <a:gd name="T3" fmla="*/ 4 h 21"/>
                  <a:gd name="T4" fmla="*/ 3 w 25"/>
                  <a:gd name="T5" fmla="*/ 9 h 21"/>
                  <a:gd name="T6" fmla="*/ 2 w 25"/>
                  <a:gd name="T7" fmla="*/ 17 h 21"/>
                  <a:gd name="T8" fmla="*/ 6 w 25"/>
                  <a:gd name="T9" fmla="*/ 1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1">
                    <a:moveTo>
                      <a:pt x="6" y="19"/>
                    </a:moveTo>
                    <a:cubicBezTo>
                      <a:pt x="11" y="13"/>
                      <a:pt x="24" y="17"/>
                      <a:pt x="25" y="4"/>
                    </a:cubicBezTo>
                    <a:cubicBezTo>
                      <a:pt x="16" y="0"/>
                      <a:pt x="10" y="6"/>
                      <a:pt x="3" y="9"/>
                    </a:cubicBezTo>
                    <a:cubicBezTo>
                      <a:pt x="0" y="11"/>
                      <a:pt x="1" y="14"/>
                      <a:pt x="2" y="17"/>
                    </a:cubicBezTo>
                    <a:cubicBezTo>
                      <a:pt x="2" y="19"/>
                      <a:pt x="5" y="21"/>
                      <a:pt x="6" y="1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67">
                <a:extLst>
                  <a:ext uri="{FF2B5EF4-FFF2-40B4-BE49-F238E27FC236}">
                    <a16:creationId xmlns:a16="http://schemas.microsoft.com/office/drawing/2014/main" id="{261F0982-1D53-41DE-4D9E-62ADDB034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423" y="1604399"/>
                <a:ext cx="83549" cy="33689"/>
              </a:xfrm>
              <a:custGeom>
                <a:avLst/>
                <a:gdLst>
                  <a:gd name="T0" fmla="*/ 25 w 35"/>
                  <a:gd name="T1" fmla="*/ 11 h 14"/>
                  <a:gd name="T2" fmla="*/ 34 w 35"/>
                  <a:gd name="T3" fmla="*/ 8 h 14"/>
                  <a:gd name="T4" fmla="*/ 24 w 35"/>
                  <a:gd name="T5" fmla="*/ 1 h 14"/>
                  <a:gd name="T6" fmla="*/ 0 w 35"/>
                  <a:gd name="T7" fmla="*/ 7 h 14"/>
                  <a:gd name="T8" fmla="*/ 0 w 35"/>
                  <a:gd name="T9" fmla="*/ 11 h 14"/>
                  <a:gd name="T10" fmla="*/ 25 w 35"/>
                  <a:gd name="T11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14">
                    <a:moveTo>
                      <a:pt x="25" y="11"/>
                    </a:moveTo>
                    <a:cubicBezTo>
                      <a:pt x="28" y="11"/>
                      <a:pt x="35" y="14"/>
                      <a:pt x="34" y="8"/>
                    </a:cubicBezTo>
                    <a:cubicBezTo>
                      <a:pt x="34" y="3"/>
                      <a:pt x="29" y="0"/>
                      <a:pt x="24" y="1"/>
                    </a:cubicBezTo>
                    <a:cubicBezTo>
                      <a:pt x="16" y="3"/>
                      <a:pt x="8" y="5"/>
                      <a:pt x="0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9" y="11"/>
                      <a:pt x="17" y="11"/>
                      <a:pt x="25" y="1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68">
                <a:extLst>
                  <a:ext uri="{FF2B5EF4-FFF2-40B4-BE49-F238E27FC236}">
                    <a16:creationId xmlns:a16="http://schemas.microsoft.com/office/drawing/2014/main" id="{C67C5D35-221D-3178-8D35-7FC7EAAE9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2597" y="1508721"/>
                <a:ext cx="84897" cy="33689"/>
              </a:xfrm>
              <a:custGeom>
                <a:avLst/>
                <a:gdLst>
                  <a:gd name="T0" fmla="*/ 36 w 36"/>
                  <a:gd name="T1" fmla="*/ 4 h 14"/>
                  <a:gd name="T2" fmla="*/ 0 w 36"/>
                  <a:gd name="T3" fmla="*/ 10 h 14"/>
                  <a:gd name="T4" fmla="*/ 36 w 36"/>
                  <a:gd name="T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14">
                    <a:moveTo>
                      <a:pt x="36" y="4"/>
                    </a:moveTo>
                    <a:cubicBezTo>
                      <a:pt x="22" y="2"/>
                      <a:pt x="11" y="0"/>
                      <a:pt x="0" y="10"/>
                    </a:cubicBezTo>
                    <a:cubicBezTo>
                      <a:pt x="14" y="14"/>
                      <a:pt x="23" y="9"/>
                      <a:pt x="36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69">
                <a:extLst>
                  <a:ext uri="{FF2B5EF4-FFF2-40B4-BE49-F238E27FC236}">
                    <a16:creationId xmlns:a16="http://schemas.microsoft.com/office/drawing/2014/main" id="{D649C7FC-DCE3-1668-F8FF-90F85AB5A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24144" y="4013843"/>
                <a:ext cx="32342" cy="48512"/>
              </a:xfrm>
              <a:custGeom>
                <a:avLst/>
                <a:gdLst>
                  <a:gd name="T0" fmla="*/ 5 w 14"/>
                  <a:gd name="T1" fmla="*/ 0 h 20"/>
                  <a:gd name="T2" fmla="*/ 1 w 14"/>
                  <a:gd name="T3" fmla="*/ 10 h 20"/>
                  <a:gd name="T4" fmla="*/ 7 w 14"/>
                  <a:gd name="T5" fmla="*/ 20 h 20"/>
                  <a:gd name="T6" fmla="*/ 14 w 14"/>
                  <a:gd name="T7" fmla="*/ 11 h 20"/>
                  <a:gd name="T8" fmla="*/ 5 w 1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0">
                    <a:moveTo>
                      <a:pt x="5" y="0"/>
                    </a:moveTo>
                    <a:cubicBezTo>
                      <a:pt x="0" y="0"/>
                      <a:pt x="2" y="6"/>
                      <a:pt x="1" y="10"/>
                    </a:cubicBezTo>
                    <a:cubicBezTo>
                      <a:pt x="1" y="15"/>
                      <a:pt x="2" y="20"/>
                      <a:pt x="7" y="20"/>
                    </a:cubicBezTo>
                    <a:cubicBezTo>
                      <a:pt x="11" y="20"/>
                      <a:pt x="14" y="15"/>
                      <a:pt x="14" y="11"/>
                    </a:cubicBezTo>
                    <a:cubicBezTo>
                      <a:pt x="14" y="5"/>
                      <a:pt x="10" y="1"/>
                      <a:pt x="5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70">
                <a:extLst>
                  <a:ext uri="{FF2B5EF4-FFF2-40B4-BE49-F238E27FC236}">
                    <a16:creationId xmlns:a16="http://schemas.microsoft.com/office/drawing/2014/main" id="{49ADBBDE-2AD5-19BC-F40C-6789ED86A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0829" y="4167465"/>
                <a:ext cx="86244" cy="52554"/>
              </a:xfrm>
              <a:custGeom>
                <a:avLst/>
                <a:gdLst>
                  <a:gd name="T0" fmla="*/ 36 w 36"/>
                  <a:gd name="T1" fmla="*/ 0 h 22"/>
                  <a:gd name="T2" fmla="*/ 0 w 36"/>
                  <a:gd name="T3" fmla="*/ 12 h 22"/>
                  <a:gd name="T4" fmla="*/ 36 w 36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2">
                    <a:moveTo>
                      <a:pt x="36" y="0"/>
                    </a:moveTo>
                    <a:cubicBezTo>
                      <a:pt x="28" y="17"/>
                      <a:pt x="12" y="8"/>
                      <a:pt x="0" y="12"/>
                    </a:cubicBezTo>
                    <a:cubicBezTo>
                      <a:pt x="17" y="22"/>
                      <a:pt x="30" y="18"/>
                      <a:pt x="36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71">
                <a:extLst>
                  <a:ext uri="{FF2B5EF4-FFF2-40B4-BE49-F238E27FC236}">
                    <a16:creationId xmlns:a16="http://schemas.microsoft.com/office/drawing/2014/main" id="{A81E1BF9-56EE-E293-D056-C14B6A7DF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8674" y="4242929"/>
                <a:ext cx="64683" cy="43122"/>
              </a:xfrm>
              <a:custGeom>
                <a:avLst/>
                <a:gdLst>
                  <a:gd name="T0" fmla="*/ 1 w 27"/>
                  <a:gd name="T1" fmla="*/ 9 h 18"/>
                  <a:gd name="T2" fmla="*/ 0 w 27"/>
                  <a:gd name="T3" fmla="*/ 13 h 18"/>
                  <a:gd name="T4" fmla="*/ 24 w 27"/>
                  <a:gd name="T5" fmla="*/ 12 h 18"/>
                  <a:gd name="T6" fmla="*/ 27 w 27"/>
                  <a:gd name="T7" fmla="*/ 9 h 18"/>
                  <a:gd name="T8" fmla="*/ 1 w 27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8">
                    <a:moveTo>
                      <a:pt x="1" y="9"/>
                    </a:moveTo>
                    <a:cubicBezTo>
                      <a:pt x="1" y="9"/>
                      <a:pt x="0" y="12"/>
                      <a:pt x="0" y="13"/>
                    </a:cubicBezTo>
                    <a:cubicBezTo>
                      <a:pt x="8" y="18"/>
                      <a:pt x="16" y="15"/>
                      <a:pt x="24" y="12"/>
                    </a:cubicBezTo>
                    <a:cubicBezTo>
                      <a:pt x="24" y="12"/>
                      <a:pt x="25" y="11"/>
                      <a:pt x="27" y="9"/>
                    </a:cubicBezTo>
                    <a:cubicBezTo>
                      <a:pt x="17" y="0"/>
                      <a:pt x="9" y="10"/>
                      <a:pt x="1" y="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72">
                <a:extLst>
                  <a:ext uri="{FF2B5EF4-FFF2-40B4-BE49-F238E27FC236}">
                    <a16:creationId xmlns:a16="http://schemas.microsoft.com/office/drawing/2014/main" id="{5511AFC6-36B3-8709-91FC-2BDFC031E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3412" y="2549041"/>
                <a:ext cx="30994" cy="43122"/>
              </a:xfrm>
              <a:custGeom>
                <a:avLst/>
                <a:gdLst>
                  <a:gd name="T0" fmla="*/ 6 w 13"/>
                  <a:gd name="T1" fmla="*/ 17 h 18"/>
                  <a:gd name="T2" fmla="*/ 12 w 13"/>
                  <a:gd name="T3" fmla="*/ 10 h 18"/>
                  <a:gd name="T4" fmla="*/ 5 w 13"/>
                  <a:gd name="T5" fmla="*/ 1 h 18"/>
                  <a:gd name="T6" fmla="*/ 0 w 13"/>
                  <a:gd name="T7" fmla="*/ 6 h 18"/>
                  <a:gd name="T8" fmla="*/ 6 w 13"/>
                  <a:gd name="T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6" y="17"/>
                    </a:moveTo>
                    <a:cubicBezTo>
                      <a:pt x="11" y="18"/>
                      <a:pt x="11" y="12"/>
                      <a:pt x="12" y="10"/>
                    </a:cubicBezTo>
                    <a:cubicBezTo>
                      <a:pt x="13" y="2"/>
                      <a:pt x="9" y="2"/>
                      <a:pt x="5" y="1"/>
                    </a:cubicBezTo>
                    <a:cubicBezTo>
                      <a:pt x="1" y="0"/>
                      <a:pt x="0" y="2"/>
                      <a:pt x="0" y="6"/>
                    </a:cubicBezTo>
                    <a:cubicBezTo>
                      <a:pt x="0" y="10"/>
                      <a:pt x="1" y="16"/>
                      <a:pt x="6" y="1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73">
                <a:extLst>
                  <a:ext uri="{FF2B5EF4-FFF2-40B4-BE49-F238E27FC236}">
                    <a16:creationId xmlns:a16="http://schemas.microsoft.com/office/drawing/2014/main" id="{85E73E94-B98D-080D-990E-75C17B120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4351" y="4028665"/>
                <a:ext cx="61987" cy="30993"/>
              </a:xfrm>
              <a:custGeom>
                <a:avLst/>
                <a:gdLst>
                  <a:gd name="T0" fmla="*/ 0 w 26"/>
                  <a:gd name="T1" fmla="*/ 13 h 13"/>
                  <a:gd name="T2" fmla="*/ 26 w 26"/>
                  <a:gd name="T3" fmla="*/ 4 h 13"/>
                  <a:gd name="T4" fmla="*/ 0 w 26"/>
                  <a:gd name="T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" h="13">
                    <a:moveTo>
                      <a:pt x="0" y="13"/>
                    </a:moveTo>
                    <a:cubicBezTo>
                      <a:pt x="8" y="6"/>
                      <a:pt x="18" y="11"/>
                      <a:pt x="26" y="4"/>
                    </a:cubicBezTo>
                    <a:cubicBezTo>
                      <a:pt x="5" y="0"/>
                      <a:pt x="2" y="0"/>
                      <a:pt x="0" y="1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74">
                <a:extLst>
                  <a:ext uri="{FF2B5EF4-FFF2-40B4-BE49-F238E27FC236}">
                    <a16:creationId xmlns:a16="http://schemas.microsoft.com/office/drawing/2014/main" id="{1C289EF2-FC64-C5FD-6279-431B7824B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7053" y="4121648"/>
                <a:ext cx="57946" cy="30993"/>
              </a:xfrm>
              <a:custGeom>
                <a:avLst/>
                <a:gdLst>
                  <a:gd name="T0" fmla="*/ 2 w 24"/>
                  <a:gd name="T1" fmla="*/ 5 h 13"/>
                  <a:gd name="T2" fmla="*/ 10 w 24"/>
                  <a:gd name="T3" fmla="*/ 9 h 13"/>
                  <a:gd name="T4" fmla="*/ 24 w 24"/>
                  <a:gd name="T5" fmla="*/ 13 h 13"/>
                  <a:gd name="T6" fmla="*/ 12 w 24"/>
                  <a:gd name="T7" fmla="*/ 2 h 13"/>
                  <a:gd name="T8" fmla="*/ 2 w 24"/>
                  <a:gd name="T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3">
                    <a:moveTo>
                      <a:pt x="2" y="5"/>
                    </a:moveTo>
                    <a:cubicBezTo>
                      <a:pt x="0" y="11"/>
                      <a:pt x="7" y="8"/>
                      <a:pt x="10" y="9"/>
                    </a:cubicBezTo>
                    <a:cubicBezTo>
                      <a:pt x="14" y="10"/>
                      <a:pt x="18" y="11"/>
                      <a:pt x="24" y="13"/>
                    </a:cubicBezTo>
                    <a:cubicBezTo>
                      <a:pt x="22" y="5"/>
                      <a:pt x="17" y="3"/>
                      <a:pt x="12" y="2"/>
                    </a:cubicBezTo>
                    <a:cubicBezTo>
                      <a:pt x="8" y="1"/>
                      <a:pt x="2" y="0"/>
                      <a:pt x="2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75">
                <a:extLst>
                  <a:ext uri="{FF2B5EF4-FFF2-40B4-BE49-F238E27FC236}">
                    <a16:creationId xmlns:a16="http://schemas.microsoft.com/office/drawing/2014/main" id="{CAF59DF6-B1BE-443B-E391-2F3E3818B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342" y="2616420"/>
                <a:ext cx="35036" cy="49860"/>
              </a:xfrm>
              <a:custGeom>
                <a:avLst/>
                <a:gdLst>
                  <a:gd name="T0" fmla="*/ 4 w 15"/>
                  <a:gd name="T1" fmla="*/ 1 h 21"/>
                  <a:gd name="T2" fmla="*/ 2 w 15"/>
                  <a:gd name="T3" fmla="*/ 8 h 21"/>
                  <a:gd name="T4" fmla="*/ 15 w 15"/>
                  <a:gd name="T5" fmla="*/ 21 h 21"/>
                  <a:gd name="T6" fmla="*/ 12 w 15"/>
                  <a:gd name="T7" fmla="*/ 5 h 21"/>
                  <a:gd name="T8" fmla="*/ 4 w 15"/>
                  <a:gd name="T9" fmla="*/ 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1">
                    <a:moveTo>
                      <a:pt x="4" y="1"/>
                    </a:moveTo>
                    <a:cubicBezTo>
                      <a:pt x="0" y="2"/>
                      <a:pt x="0" y="5"/>
                      <a:pt x="2" y="8"/>
                    </a:cubicBezTo>
                    <a:cubicBezTo>
                      <a:pt x="5" y="14"/>
                      <a:pt x="6" y="20"/>
                      <a:pt x="15" y="21"/>
                    </a:cubicBezTo>
                    <a:cubicBezTo>
                      <a:pt x="14" y="15"/>
                      <a:pt x="13" y="10"/>
                      <a:pt x="12" y="5"/>
                    </a:cubicBezTo>
                    <a:cubicBezTo>
                      <a:pt x="11" y="0"/>
                      <a:pt x="7" y="1"/>
                      <a:pt x="4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76">
                <a:extLst>
                  <a:ext uri="{FF2B5EF4-FFF2-40B4-BE49-F238E27FC236}">
                    <a16:creationId xmlns:a16="http://schemas.microsoft.com/office/drawing/2014/main" id="{8607A060-C219-58A2-191F-AFBD9E802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1243" y="2036967"/>
                <a:ext cx="55251" cy="43122"/>
              </a:xfrm>
              <a:custGeom>
                <a:avLst/>
                <a:gdLst>
                  <a:gd name="T0" fmla="*/ 2 w 23"/>
                  <a:gd name="T1" fmla="*/ 8 h 18"/>
                  <a:gd name="T2" fmla="*/ 5 w 23"/>
                  <a:gd name="T3" fmla="*/ 15 h 18"/>
                  <a:gd name="T4" fmla="*/ 23 w 23"/>
                  <a:gd name="T5" fmla="*/ 5 h 18"/>
                  <a:gd name="T6" fmla="*/ 2 w 23"/>
                  <a:gd name="T7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8">
                    <a:moveTo>
                      <a:pt x="2" y="8"/>
                    </a:moveTo>
                    <a:cubicBezTo>
                      <a:pt x="0" y="10"/>
                      <a:pt x="2" y="14"/>
                      <a:pt x="5" y="15"/>
                    </a:cubicBezTo>
                    <a:cubicBezTo>
                      <a:pt x="13" y="18"/>
                      <a:pt x="17" y="12"/>
                      <a:pt x="23" y="5"/>
                    </a:cubicBezTo>
                    <a:cubicBezTo>
                      <a:pt x="14" y="5"/>
                      <a:pt x="7" y="0"/>
                      <a:pt x="2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77">
                <a:extLst>
                  <a:ext uri="{FF2B5EF4-FFF2-40B4-BE49-F238E27FC236}">
                    <a16:creationId xmlns:a16="http://schemas.microsoft.com/office/drawing/2014/main" id="{1F03CEF4-C9B1-3069-3579-612CDB701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0308" y="4257751"/>
                <a:ext cx="53903" cy="25603"/>
              </a:xfrm>
              <a:custGeom>
                <a:avLst/>
                <a:gdLst>
                  <a:gd name="T0" fmla="*/ 0 w 23"/>
                  <a:gd name="T1" fmla="*/ 5 h 11"/>
                  <a:gd name="T2" fmla="*/ 23 w 23"/>
                  <a:gd name="T3" fmla="*/ 5 h 11"/>
                  <a:gd name="T4" fmla="*/ 0 w 23"/>
                  <a:gd name="T5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0" y="5"/>
                    </a:moveTo>
                    <a:cubicBezTo>
                      <a:pt x="8" y="11"/>
                      <a:pt x="15" y="8"/>
                      <a:pt x="23" y="5"/>
                    </a:cubicBezTo>
                    <a:cubicBezTo>
                      <a:pt x="9" y="0"/>
                      <a:pt x="9" y="0"/>
                      <a:pt x="0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78">
                <a:extLst>
                  <a:ext uri="{FF2B5EF4-FFF2-40B4-BE49-F238E27FC236}">
                    <a16:creationId xmlns:a16="http://schemas.microsoft.com/office/drawing/2014/main" id="{98ABA0B7-E699-CE61-8AB0-158144482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723" y="2301089"/>
                <a:ext cx="43122" cy="36383"/>
              </a:xfrm>
              <a:custGeom>
                <a:avLst/>
                <a:gdLst>
                  <a:gd name="T0" fmla="*/ 0 w 18"/>
                  <a:gd name="T1" fmla="*/ 11 h 15"/>
                  <a:gd name="T2" fmla="*/ 17 w 18"/>
                  <a:gd name="T3" fmla="*/ 6 h 15"/>
                  <a:gd name="T4" fmla="*/ 16 w 18"/>
                  <a:gd name="T5" fmla="*/ 1 h 15"/>
                  <a:gd name="T6" fmla="*/ 0 w 18"/>
                  <a:gd name="T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15">
                    <a:moveTo>
                      <a:pt x="0" y="11"/>
                    </a:moveTo>
                    <a:cubicBezTo>
                      <a:pt x="8" y="15"/>
                      <a:pt x="13" y="11"/>
                      <a:pt x="17" y="6"/>
                    </a:cubicBezTo>
                    <a:cubicBezTo>
                      <a:pt x="18" y="4"/>
                      <a:pt x="18" y="2"/>
                      <a:pt x="16" y="1"/>
                    </a:cubicBezTo>
                    <a:cubicBezTo>
                      <a:pt x="8" y="0"/>
                      <a:pt x="4" y="3"/>
                      <a:pt x="0" y="1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79">
                <a:extLst>
                  <a:ext uri="{FF2B5EF4-FFF2-40B4-BE49-F238E27FC236}">
                    <a16:creationId xmlns:a16="http://schemas.microsoft.com/office/drawing/2014/main" id="{3C3753F5-5D24-D4E6-C266-1EE39C35C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18367" y="4935577"/>
                <a:ext cx="44471" cy="49860"/>
              </a:xfrm>
              <a:custGeom>
                <a:avLst/>
                <a:gdLst>
                  <a:gd name="T0" fmla="*/ 17 w 19"/>
                  <a:gd name="T1" fmla="*/ 21 h 21"/>
                  <a:gd name="T2" fmla="*/ 11 w 19"/>
                  <a:gd name="T3" fmla="*/ 4 h 21"/>
                  <a:gd name="T4" fmla="*/ 3 w 19"/>
                  <a:gd name="T5" fmla="*/ 2 h 21"/>
                  <a:gd name="T6" fmla="*/ 4 w 19"/>
                  <a:gd name="T7" fmla="*/ 9 h 21"/>
                  <a:gd name="T8" fmla="*/ 17 w 19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1">
                    <a:moveTo>
                      <a:pt x="17" y="21"/>
                    </a:moveTo>
                    <a:cubicBezTo>
                      <a:pt x="19" y="14"/>
                      <a:pt x="13" y="9"/>
                      <a:pt x="11" y="4"/>
                    </a:cubicBezTo>
                    <a:cubicBezTo>
                      <a:pt x="9" y="0"/>
                      <a:pt x="6" y="0"/>
                      <a:pt x="3" y="2"/>
                    </a:cubicBezTo>
                    <a:cubicBezTo>
                      <a:pt x="0" y="4"/>
                      <a:pt x="2" y="7"/>
                      <a:pt x="4" y="9"/>
                    </a:cubicBezTo>
                    <a:cubicBezTo>
                      <a:pt x="8" y="13"/>
                      <a:pt x="12" y="17"/>
                      <a:pt x="17" y="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0">
                <a:extLst>
                  <a:ext uri="{FF2B5EF4-FFF2-40B4-BE49-F238E27FC236}">
                    <a16:creationId xmlns:a16="http://schemas.microsoft.com/office/drawing/2014/main" id="{582D147D-C6CE-5385-C6FF-CB449A00E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02421" y="2287614"/>
                <a:ext cx="66032" cy="22908"/>
              </a:xfrm>
              <a:custGeom>
                <a:avLst/>
                <a:gdLst>
                  <a:gd name="T0" fmla="*/ 0 w 28"/>
                  <a:gd name="T1" fmla="*/ 2 h 10"/>
                  <a:gd name="T2" fmla="*/ 28 w 28"/>
                  <a:gd name="T3" fmla="*/ 6 h 10"/>
                  <a:gd name="T4" fmla="*/ 0 w 28"/>
                  <a:gd name="T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0">
                    <a:moveTo>
                      <a:pt x="0" y="2"/>
                    </a:moveTo>
                    <a:cubicBezTo>
                      <a:pt x="9" y="10"/>
                      <a:pt x="16" y="7"/>
                      <a:pt x="28" y="6"/>
                    </a:cubicBezTo>
                    <a:cubicBezTo>
                      <a:pt x="17" y="0"/>
                      <a:pt x="9" y="1"/>
                      <a:pt x="0" y="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1">
                <a:extLst>
                  <a:ext uri="{FF2B5EF4-FFF2-40B4-BE49-F238E27FC236}">
                    <a16:creationId xmlns:a16="http://schemas.microsoft.com/office/drawing/2014/main" id="{5A3E9549-0C0A-46FA-F80B-C59F87474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9023" y="2749828"/>
                <a:ext cx="59293" cy="26951"/>
              </a:xfrm>
              <a:custGeom>
                <a:avLst/>
                <a:gdLst>
                  <a:gd name="T0" fmla="*/ 25 w 25"/>
                  <a:gd name="T1" fmla="*/ 9 h 11"/>
                  <a:gd name="T2" fmla="*/ 0 w 25"/>
                  <a:gd name="T3" fmla="*/ 0 h 11"/>
                  <a:gd name="T4" fmla="*/ 25 w 25"/>
                  <a:gd name="T5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25" y="9"/>
                    </a:moveTo>
                    <a:cubicBezTo>
                      <a:pt x="17" y="4"/>
                      <a:pt x="10" y="2"/>
                      <a:pt x="0" y="0"/>
                    </a:cubicBezTo>
                    <a:cubicBezTo>
                      <a:pt x="13" y="11"/>
                      <a:pt x="13" y="11"/>
                      <a:pt x="25" y="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82">
                <a:extLst>
                  <a:ext uri="{FF2B5EF4-FFF2-40B4-BE49-F238E27FC236}">
                    <a16:creationId xmlns:a16="http://schemas.microsoft.com/office/drawing/2014/main" id="{ECF40B18-2380-F7A4-05ED-8B8A9294F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0344" y="1650215"/>
                <a:ext cx="55251" cy="28299"/>
              </a:xfrm>
              <a:custGeom>
                <a:avLst/>
                <a:gdLst>
                  <a:gd name="T0" fmla="*/ 23 w 23"/>
                  <a:gd name="T1" fmla="*/ 5 h 12"/>
                  <a:gd name="T2" fmla="*/ 0 w 23"/>
                  <a:gd name="T3" fmla="*/ 9 h 12"/>
                  <a:gd name="T4" fmla="*/ 23 w 23"/>
                  <a:gd name="T5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2">
                    <a:moveTo>
                      <a:pt x="23" y="5"/>
                    </a:moveTo>
                    <a:cubicBezTo>
                      <a:pt x="16" y="6"/>
                      <a:pt x="8" y="0"/>
                      <a:pt x="0" y="9"/>
                    </a:cubicBezTo>
                    <a:cubicBezTo>
                      <a:pt x="9" y="10"/>
                      <a:pt x="17" y="12"/>
                      <a:pt x="23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83">
                <a:extLst>
                  <a:ext uri="{FF2B5EF4-FFF2-40B4-BE49-F238E27FC236}">
                    <a16:creationId xmlns:a16="http://schemas.microsoft.com/office/drawing/2014/main" id="{1B80F539-B900-A6FF-3803-BBCB71986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216" y="1656954"/>
                <a:ext cx="35036" cy="36383"/>
              </a:xfrm>
              <a:custGeom>
                <a:avLst/>
                <a:gdLst>
                  <a:gd name="T0" fmla="*/ 15 w 15"/>
                  <a:gd name="T1" fmla="*/ 11 h 15"/>
                  <a:gd name="T2" fmla="*/ 3 w 15"/>
                  <a:gd name="T3" fmla="*/ 1 h 15"/>
                  <a:gd name="T4" fmla="*/ 1 w 15"/>
                  <a:gd name="T5" fmla="*/ 7 h 15"/>
                  <a:gd name="T6" fmla="*/ 15 w 15"/>
                  <a:gd name="T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5">
                    <a:moveTo>
                      <a:pt x="15" y="11"/>
                    </a:moveTo>
                    <a:cubicBezTo>
                      <a:pt x="12" y="6"/>
                      <a:pt x="10" y="0"/>
                      <a:pt x="3" y="1"/>
                    </a:cubicBezTo>
                    <a:cubicBezTo>
                      <a:pt x="0" y="2"/>
                      <a:pt x="0" y="4"/>
                      <a:pt x="1" y="7"/>
                    </a:cubicBezTo>
                    <a:cubicBezTo>
                      <a:pt x="4" y="13"/>
                      <a:pt x="8" y="15"/>
                      <a:pt x="15" y="1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84">
                <a:extLst>
                  <a:ext uri="{FF2B5EF4-FFF2-40B4-BE49-F238E27FC236}">
                    <a16:creationId xmlns:a16="http://schemas.microsoft.com/office/drawing/2014/main" id="{3C0D7906-AC29-2DEB-5DFA-78F666569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055" y="203157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85">
                <a:extLst>
                  <a:ext uri="{FF2B5EF4-FFF2-40B4-BE49-F238E27FC236}">
                    <a16:creationId xmlns:a16="http://schemas.microsoft.com/office/drawing/2014/main" id="{EF2D6259-1569-A394-7C2E-B9AD2A4F2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8628" y="2010016"/>
                <a:ext cx="40426" cy="26951"/>
              </a:xfrm>
              <a:custGeom>
                <a:avLst/>
                <a:gdLst>
                  <a:gd name="T0" fmla="*/ 2 w 17"/>
                  <a:gd name="T1" fmla="*/ 0 h 11"/>
                  <a:gd name="T2" fmla="*/ 0 w 17"/>
                  <a:gd name="T3" fmla="*/ 3 h 11"/>
                  <a:gd name="T4" fmla="*/ 14 w 17"/>
                  <a:gd name="T5" fmla="*/ 9 h 11"/>
                  <a:gd name="T6" fmla="*/ 17 w 17"/>
                  <a:gd name="T7" fmla="*/ 9 h 11"/>
                  <a:gd name="T8" fmla="*/ 2 w 1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2" y="0"/>
                    </a:moveTo>
                    <a:cubicBezTo>
                      <a:pt x="1" y="0"/>
                      <a:pt x="0" y="0"/>
                      <a:pt x="0" y="3"/>
                    </a:cubicBezTo>
                    <a:cubicBezTo>
                      <a:pt x="2" y="11"/>
                      <a:pt x="9" y="9"/>
                      <a:pt x="14" y="9"/>
                    </a:cubicBezTo>
                    <a:cubicBezTo>
                      <a:pt x="15" y="9"/>
                      <a:pt x="16" y="9"/>
                      <a:pt x="17" y="9"/>
                    </a:cubicBezTo>
                    <a:cubicBezTo>
                      <a:pt x="15" y="1"/>
                      <a:pt x="9" y="0"/>
                      <a:pt x="2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86">
                <a:extLst>
                  <a:ext uri="{FF2B5EF4-FFF2-40B4-BE49-F238E27FC236}">
                    <a16:creationId xmlns:a16="http://schemas.microsoft.com/office/drawing/2014/main" id="{7C667A95-73A3-0027-06D5-D590718C7E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35205" y="4257751"/>
                <a:ext cx="74116" cy="49860"/>
              </a:xfrm>
              <a:custGeom>
                <a:avLst/>
                <a:gdLst>
                  <a:gd name="T0" fmla="*/ 31 w 31"/>
                  <a:gd name="T1" fmla="*/ 0 h 21"/>
                  <a:gd name="T2" fmla="*/ 13 w 31"/>
                  <a:gd name="T3" fmla="*/ 8 h 21"/>
                  <a:gd name="T4" fmla="*/ 0 w 31"/>
                  <a:gd name="T5" fmla="*/ 16 h 21"/>
                  <a:gd name="T6" fmla="*/ 3 w 31"/>
                  <a:gd name="T7" fmla="*/ 21 h 21"/>
                  <a:gd name="T8" fmla="*/ 15 w 31"/>
                  <a:gd name="T9" fmla="*/ 11 h 21"/>
                  <a:gd name="T10" fmla="*/ 15 w 31"/>
                  <a:gd name="T11" fmla="*/ 9 h 21"/>
                  <a:gd name="T12" fmla="*/ 31 w 31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3" y="5"/>
                      <a:pt x="16" y="0"/>
                      <a:pt x="13" y="8"/>
                    </a:cubicBezTo>
                    <a:cubicBezTo>
                      <a:pt x="8" y="10"/>
                      <a:pt x="1" y="8"/>
                      <a:pt x="0" y="16"/>
                    </a:cubicBezTo>
                    <a:cubicBezTo>
                      <a:pt x="0" y="18"/>
                      <a:pt x="0" y="21"/>
                      <a:pt x="3" y="21"/>
                    </a:cubicBezTo>
                    <a:cubicBezTo>
                      <a:pt x="10" y="21"/>
                      <a:pt x="12" y="15"/>
                      <a:pt x="15" y="11"/>
                    </a:cubicBezTo>
                    <a:cubicBezTo>
                      <a:pt x="15" y="10"/>
                      <a:pt x="15" y="10"/>
                      <a:pt x="15" y="9"/>
                    </a:cubicBezTo>
                    <a:cubicBezTo>
                      <a:pt x="20" y="8"/>
                      <a:pt x="27" y="11"/>
                      <a:pt x="31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87">
                <a:extLst>
                  <a:ext uri="{FF2B5EF4-FFF2-40B4-BE49-F238E27FC236}">
                    <a16:creationId xmlns:a16="http://schemas.microsoft.com/office/drawing/2014/main" id="{D23D3FDE-3F20-124E-8B4E-44F07B531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54" y="2067960"/>
                <a:ext cx="2695" cy="4042"/>
              </a:xfrm>
              <a:custGeom>
                <a:avLst/>
                <a:gdLst>
                  <a:gd name="T0" fmla="*/ 1 w 1"/>
                  <a:gd name="T1" fmla="*/ 1 h 2"/>
                  <a:gd name="T2" fmla="*/ 0 w 1"/>
                  <a:gd name="T3" fmla="*/ 0 h 2"/>
                  <a:gd name="T4" fmla="*/ 0 w 1"/>
                  <a:gd name="T5" fmla="*/ 2 h 2"/>
                  <a:gd name="T6" fmla="*/ 1 w 1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cubicBezTo>
                      <a:pt x="1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1" y="2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88">
                <a:extLst>
                  <a:ext uri="{FF2B5EF4-FFF2-40B4-BE49-F238E27FC236}">
                    <a16:creationId xmlns:a16="http://schemas.microsoft.com/office/drawing/2014/main" id="{BF99E672-35C9-2443-65B8-E078678CA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54" y="2065266"/>
                <a:ext cx="0" cy="2695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89">
                <a:extLst>
                  <a:ext uri="{FF2B5EF4-FFF2-40B4-BE49-F238E27FC236}">
                    <a16:creationId xmlns:a16="http://schemas.microsoft.com/office/drawing/2014/main" id="{696555FE-C384-42C0-FCD2-5A3B0EE54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2618" y="2733657"/>
                <a:ext cx="4043" cy="4042"/>
              </a:xfrm>
              <a:custGeom>
                <a:avLst/>
                <a:gdLst>
                  <a:gd name="T0" fmla="*/ 0 w 2"/>
                  <a:gd name="T1" fmla="*/ 0 h 2"/>
                  <a:gd name="T2" fmla="*/ 1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0" y="1"/>
                      <a:pt x="0" y="2"/>
                      <a:pt x="1" y="2"/>
                    </a:cubicBezTo>
                    <a:cubicBezTo>
                      <a:pt x="1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2BDAB8D-5CA9-9A8F-B3B4-815C8A3C3ABE}"/>
                </a:ext>
              </a:extLst>
            </p:cNvPr>
            <p:cNvSpPr/>
            <p:nvPr/>
          </p:nvSpPr>
          <p:spPr>
            <a:xfrm>
              <a:off x="6003635" y="1068974"/>
              <a:ext cx="184731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US" sz="4800" b="1">
                <a:solidFill>
                  <a:schemeClr val="accent1"/>
                </a:solidFill>
              </a:endParaRPr>
            </a:p>
          </p:txBody>
        </p:sp>
      </p:grpSp>
      <p:cxnSp>
        <p:nvCxnSpPr>
          <p:cNvPr id="10" name="Straight Connector 9" descr="Line">
            <a:extLst>
              <a:ext uri="{FF2B5EF4-FFF2-40B4-BE49-F238E27FC236}">
                <a16:creationId xmlns:a16="http://schemas.microsoft.com/office/drawing/2014/main" id="{4C3F4FC5-0C01-4592-9483-D476EA2BDF93}"/>
              </a:ext>
            </a:extLst>
          </p:cNvPr>
          <p:cNvCxnSpPr/>
          <p:nvPr/>
        </p:nvCxnSpPr>
        <p:spPr>
          <a:xfrm>
            <a:off x="6096000" y="4124378"/>
            <a:ext cx="0" cy="396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24EFF0B-6303-2212-9CE9-07033809435B}"/>
              </a:ext>
            </a:extLst>
          </p:cNvPr>
          <p:cNvSpPr/>
          <p:nvPr/>
        </p:nvSpPr>
        <p:spPr>
          <a:xfrm>
            <a:off x="651825" y="2669973"/>
            <a:ext cx="3407812" cy="2004901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5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08: Airbnb founded as </a:t>
            </a:r>
            <a:r>
              <a:rPr lang="en-US" sz="1400" b="1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AirBed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&amp; Breakfast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by Brian Chesky, Joe Gebbia, and Nathan Blecharczyk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2: Airbnb launched "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Neighborhoods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", a travel guide of 23 cities 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40ECFCF-EFB0-0010-F93B-A76EADE6378C}"/>
              </a:ext>
            </a:extLst>
          </p:cNvPr>
          <p:cNvSpPr/>
          <p:nvPr/>
        </p:nvSpPr>
        <p:spPr>
          <a:xfrm>
            <a:off x="4526057" y="2656679"/>
            <a:ext cx="3643745" cy="200126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5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09: The name of the company was shortened to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Airbnb.com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0: Launched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Airbnb Mobile app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1:  Established first international office in London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2: 25% of users are mobile app users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2: Airbnb acquired </a:t>
            </a:r>
            <a:r>
              <a:rPr lang="en-US" sz="1400" b="1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Urbandoor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– A vacation rental market place in India</a:t>
            </a:r>
          </a:p>
          <a:p>
            <a:pPr marL="285750" indent="-285750">
              <a:buFont typeface="Arial"/>
              <a:buChar char="•"/>
            </a:pPr>
            <a:endParaRPr lang="en-US" sz="10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10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46400160-5E06-D67C-5E9E-E378318EBE83}"/>
              </a:ext>
            </a:extLst>
          </p:cNvPr>
          <p:cNvSpPr/>
          <p:nvPr/>
        </p:nvSpPr>
        <p:spPr>
          <a:xfrm>
            <a:off x="8717844" y="2659985"/>
            <a:ext cx="3193624" cy="2010821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5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09: Airbnb received $600,000 in seed funding from Sequoia Capital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0: Raised $7.2 million in financing from Greylock Partners and Sequoia Capital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1: Raised $112 million in Series A funding</a:t>
            </a:r>
          </a:p>
          <a:p>
            <a:endParaRPr lang="en-US" sz="10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AE77F99-7F03-2DFA-179D-9DB35FE553DB}"/>
              </a:ext>
            </a:extLst>
          </p:cNvPr>
          <p:cNvSpPr txBox="1">
            <a:spLocks/>
          </p:cNvSpPr>
          <p:nvPr/>
        </p:nvSpPr>
        <p:spPr>
          <a:xfrm>
            <a:off x="2074438" y="246721"/>
            <a:ext cx="7931484" cy="600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FF0000"/>
                </a:solidFill>
              </a:rPr>
              <a:t>PRODUCT ROADMA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F6955C8-4128-D5BD-72DF-5A1AC6AC60C7}"/>
              </a:ext>
            </a:extLst>
          </p:cNvPr>
          <p:cNvSpPr/>
          <p:nvPr/>
        </p:nvSpPr>
        <p:spPr>
          <a:xfrm>
            <a:off x="4247029" y="1227044"/>
            <a:ext cx="3361764" cy="33617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/>
              <a:t>2008          2012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F669B085-8233-DAEC-904D-C6275705DE08}"/>
              </a:ext>
            </a:extLst>
          </p:cNvPr>
          <p:cNvSpPr/>
          <p:nvPr/>
        </p:nvSpPr>
        <p:spPr>
          <a:xfrm>
            <a:off x="5692587" y="1299882"/>
            <a:ext cx="448236" cy="2017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0F74E01-7633-904B-AD22-5742AAB3575C}"/>
              </a:ext>
            </a:extLst>
          </p:cNvPr>
          <p:cNvSpPr/>
          <p:nvPr/>
        </p:nvSpPr>
        <p:spPr>
          <a:xfrm>
            <a:off x="1022986" y="1959701"/>
            <a:ext cx="2416602" cy="312122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FEATURE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66ED351-62C5-3F8E-7AEA-C8DC6754685D}"/>
              </a:ext>
            </a:extLst>
          </p:cNvPr>
          <p:cNvSpPr/>
          <p:nvPr/>
        </p:nvSpPr>
        <p:spPr>
          <a:xfrm>
            <a:off x="4890191" y="1957468"/>
            <a:ext cx="2831220" cy="368151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EXPANSIONS + ACQUISTION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64BCEBB-7A94-D285-74A2-EA6FE2A3DF16}"/>
              </a:ext>
            </a:extLst>
          </p:cNvPr>
          <p:cNvSpPr/>
          <p:nvPr/>
        </p:nvSpPr>
        <p:spPr>
          <a:xfrm>
            <a:off x="8932961" y="1943338"/>
            <a:ext cx="2360573" cy="323327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FINANCIALS</a:t>
            </a:r>
          </a:p>
        </p:txBody>
      </p:sp>
      <p:pic>
        <p:nvPicPr>
          <p:cNvPr id="2" name="Picture 2" descr="A screenshot of a phone&#10;&#10;Description automatically generated">
            <a:extLst>
              <a:ext uri="{FF2B5EF4-FFF2-40B4-BE49-F238E27FC236}">
                <a16:creationId xmlns:a16="http://schemas.microsoft.com/office/drawing/2014/main" id="{376A42CA-589B-5E33-8F74-21BF36F1A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2636" y="5041009"/>
            <a:ext cx="2608731" cy="1672954"/>
          </a:xfrm>
          <a:prstGeom prst="rect">
            <a:avLst/>
          </a:prstGeom>
        </p:spPr>
      </p:pic>
      <p:pic>
        <p:nvPicPr>
          <p:cNvPr id="4" name="Picture 6" descr="A logo and arrow pointing to a hotel&#10;&#10;Description automatically generated">
            <a:extLst>
              <a:ext uri="{FF2B5EF4-FFF2-40B4-BE49-F238E27FC236}">
                <a16:creationId xmlns:a16="http://schemas.microsoft.com/office/drawing/2014/main" id="{237DDF0C-ECBE-C388-DA0B-072E32DA20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458" y="5043226"/>
            <a:ext cx="2799230" cy="1679726"/>
          </a:xfrm>
          <a:prstGeom prst="rect">
            <a:avLst/>
          </a:prstGeom>
        </p:spPr>
      </p:pic>
      <p:pic>
        <p:nvPicPr>
          <p:cNvPr id="9" name="Picture 12" descr="A close-up of a logo&#10;&#10;Description automatically generated">
            <a:extLst>
              <a:ext uri="{FF2B5EF4-FFF2-40B4-BE49-F238E27FC236}">
                <a16:creationId xmlns:a16="http://schemas.microsoft.com/office/drawing/2014/main" id="{2908E187-BFDA-58D5-D3B0-3A491A9FC6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36959" y="5238852"/>
            <a:ext cx="2743200" cy="1288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014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F1D360D-BDBD-776D-D298-78A6355E307F}"/>
              </a:ext>
            </a:extLst>
          </p:cNvPr>
          <p:cNvGrpSpPr/>
          <p:nvPr/>
        </p:nvGrpSpPr>
        <p:grpSpPr>
          <a:xfrm>
            <a:off x="0" y="1224517"/>
            <a:ext cx="11754173" cy="5400773"/>
            <a:chOff x="469749" y="766579"/>
            <a:chExt cx="8544906" cy="4234046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902D746-1B12-1DF4-2C87-3A7BE0D52891}"/>
                </a:ext>
              </a:extLst>
            </p:cNvPr>
            <p:cNvGrpSpPr/>
            <p:nvPr/>
          </p:nvGrpSpPr>
          <p:grpSpPr>
            <a:xfrm>
              <a:off x="469749" y="766579"/>
              <a:ext cx="8544906" cy="4234046"/>
              <a:chOff x="1823547" y="1311977"/>
              <a:chExt cx="8544906" cy="4234046"/>
            </a:xfrm>
            <a:solidFill>
              <a:schemeClr val="bg1">
                <a:lumMod val="95000"/>
              </a:schemeClr>
            </a:solidFill>
          </p:grpSpPr>
          <p:sp>
            <p:nvSpPr>
              <p:cNvPr id="28" name="Freeform 2">
                <a:extLst>
                  <a:ext uri="{FF2B5EF4-FFF2-40B4-BE49-F238E27FC236}">
                    <a16:creationId xmlns:a16="http://schemas.microsoft.com/office/drawing/2014/main" id="{88CB8D2D-A405-4E32-4BC5-1658A0BFB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055" y="203157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">
                <a:extLst>
                  <a:ext uri="{FF2B5EF4-FFF2-40B4-BE49-F238E27FC236}">
                    <a16:creationId xmlns:a16="http://schemas.microsoft.com/office/drawing/2014/main" id="{E725B5AD-2BBA-A074-DAC6-5B6A9CF1EA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1544" y="1659648"/>
                <a:ext cx="4909177" cy="3270538"/>
              </a:xfrm>
              <a:custGeom>
                <a:avLst/>
                <a:gdLst>
                  <a:gd name="T0" fmla="*/ 1878 w 2059"/>
                  <a:gd name="T1" fmla="*/ 154 h 1371"/>
                  <a:gd name="T2" fmla="*/ 1775 w 2059"/>
                  <a:gd name="T3" fmla="*/ 162 h 1371"/>
                  <a:gd name="T4" fmla="*/ 1593 w 2059"/>
                  <a:gd name="T5" fmla="*/ 102 h 1371"/>
                  <a:gd name="T6" fmla="*/ 1447 w 2059"/>
                  <a:gd name="T7" fmla="*/ 122 h 1371"/>
                  <a:gd name="T8" fmla="*/ 1296 w 2059"/>
                  <a:gd name="T9" fmla="*/ 86 h 1371"/>
                  <a:gd name="T10" fmla="*/ 1237 w 2059"/>
                  <a:gd name="T11" fmla="*/ 24 h 1371"/>
                  <a:gd name="T12" fmla="*/ 1060 w 2059"/>
                  <a:gd name="T13" fmla="*/ 49 h 1371"/>
                  <a:gd name="T14" fmla="*/ 937 w 2059"/>
                  <a:gd name="T15" fmla="*/ 116 h 1371"/>
                  <a:gd name="T16" fmla="*/ 925 w 2059"/>
                  <a:gd name="T17" fmla="*/ 168 h 1371"/>
                  <a:gd name="T18" fmla="*/ 901 w 2059"/>
                  <a:gd name="T19" fmla="*/ 193 h 1371"/>
                  <a:gd name="T20" fmla="*/ 843 w 2059"/>
                  <a:gd name="T21" fmla="*/ 139 h 1371"/>
                  <a:gd name="T22" fmla="*/ 771 w 2059"/>
                  <a:gd name="T23" fmla="*/ 179 h 1371"/>
                  <a:gd name="T24" fmla="*/ 628 w 2059"/>
                  <a:gd name="T25" fmla="*/ 204 h 1371"/>
                  <a:gd name="T26" fmla="*/ 604 w 2059"/>
                  <a:gd name="T27" fmla="*/ 215 h 1371"/>
                  <a:gd name="T28" fmla="*/ 515 w 2059"/>
                  <a:gd name="T29" fmla="*/ 232 h 1371"/>
                  <a:gd name="T30" fmla="*/ 492 w 2059"/>
                  <a:gd name="T31" fmla="*/ 153 h 1371"/>
                  <a:gd name="T32" fmla="*/ 393 w 2059"/>
                  <a:gd name="T33" fmla="*/ 138 h 1371"/>
                  <a:gd name="T34" fmla="*/ 296 w 2059"/>
                  <a:gd name="T35" fmla="*/ 230 h 1371"/>
                  <a:gd name="T36" fmla="*/ 231 w 2059"/>
                  <a:gd name="T37" fmla="*/ 334 h 1371"/>
                  <a:gd name="T38" fmla="*/ 350 w 2059"/>
                  <a:gd name="T39" fmla="*/ 329 h 1371"/>
                  <a:gd name="T40" fmla="*/ 383 w 2059"/>
                  <a:gd name="T41" fmla="*/ 292 h 1371"/>
                  <a:gd name="T42" fmla="*/ 411 w 2059"/>
                  <a:gd name="T43" fmla="*/ 343 h 1371"/>
                  <a:gd name="T44" fmla="*/ 286 w 2059"/>
                  <a:gd name="T45" fmla="*/ 402 h 1371"/>
                  <a:gd name="T46" fmla="*/ 232 w 2059"/>
                  <a:gd name="T47" fmla="*/ 410 h 1371"/>
                  <a:gd name="T48" fmla="*/ 148 w 2059"/>
                  <a:gd name="T49" fmla="*/ 540 h 1371"/>
                  <a:gd name="T50" fmla="*/ 142 w 2059"/>
                  <a:gd name="T51" fmla="*/ 618 h 1371"/>
                  <a:gd name="T52" fmla="*/ 331 w 2059"/>
                  <a:gd name="T53" fmla="*/ 600 h 1371"/>
                  <a:gd name="T54" fmla="*/ 364 w 2059"/>
                  <a:gd name="T55" fmla="*/ 568 h 1371"/>
                  <a:gd name="T56" fmla="*/ 452 w 2059"/>
                  <a:gd name="T57" fmla="*/ 534 h 1371"/>
                  <a:gd name="T58" fmla="*/ 556 w 2059"/>
                  <a:gd name="T59" fmla="*/ 494 h 1371"/>
                  <a:gd name="T60" fmla="*/ 436 w 2059"/>
                  <a:gd name="T61" fmla="*/ 590 h 1371"/>
                  <a:gd name="T62" fmla="*/ 468 w 2059"/>
                  <a:gd name="T63" fmla="*/ 678 h 1371"/>
                  <a:gd name="T64" fmla="*/ 273 w 2059"/>
                  <a:gd name="T65" fmla="*/ 612 h 1371"/>
                  <a:gd name="T66" fmla="*/ 69 w 2059"/>
                  <a:gd name="T67" fmla="*/ 700 h 1371"/>
                  <a:gd name="T68" fmla="*/ 197 w 2059"/>
                  <a:gd name="T69" fmla="*/ 939 h 1371"/>
                  <a:gd name="T70" fmla="*/ 296 w 2059"/>
                  <a:gd name="T71" fmla="*/ 1156 h 1371"/>
                  <a:gd name="T72" fmla="*/ 491 w 2059"/>
                  <a:gd name="T73" fmla="*/ 1278 h 1371"/>
                  <a:gd name="T74" fmla="*/ 569 w 2059"/>
                  <a:gd name="T75" fmla="*/ 1029 h 1371"/>
                  <a:gd name="T76" fmla="*/ 595 w 2059"/>
                  <a:gd name="T77" fmla="*/ 874 h 1371"/>
                  <a:gd name="T78" fmla="*/ 562 w 2059"/>
                  <a:gd name="T79" fmla="*/ 795 h 1371"/>
                  <a:gd name="T80" fmla="*/ 728 w 2059"/>
                  <a:gd name="T81" fmla="*/ 732 h 1371"/>
                  <a:gd name="T82" fmla="*/ 667 w 2059"/>
                  <a:gd name="T83" fmla="*/ 694 h 1371"/>
                  <a:gd name="T84" fmla="*/ 862 w 2059"/>
                  <a:gd name="T85" fmla="*/ 776 h 1371"/>
                  <a:gd name="T86" fmla="*/ 983 w 2059"/>
                  <a:gd name="T87" fmla="*/ 840 h 1371"/>
                  <a:gd name="T88" fmla="*/ 1126 w 2059"/>
                  <a:gd name="T89" fmla="*/ 835 h 1371"/>
                  <a:gd name="T90" fmla="*/ 1190 w 2059"/>
                  <a:gd name="T91" fmla="*/ 977 h 1371"/>
                  <a:gd name="T92" fmla="*/ 1246 w 2059"/>
                  <a:gd name="T93" fmla="*/ 889 h 1371"/>
                  <a:gd name="T94" fmla="*/ 1373 w 2059"/>
                  <a:gd name="T95" fmla="*/ 696 h 1371"/>
                  <a:gd name="T96" fmla="*/ 1331 w 2059"/>
                  <a:gd name="T97" fmla="*/ 598 h 1371"/>
                  <a:gd name="T98" fmla="*/ 1404 w 2059"/>
                  <a:gd name="T99" fmla="*/ 586 h 1371"/>
                  <a:gd name="T100" fmla="*/ 1437 w 2059"/>
                  <a:gd name="T101" fmla="*/ 582 h 1371"/>
                  <a:gd name="T102" fmla="*/ 1510 w 2059"/>
                  <a:gd name="T103" fmla="*/ 392 h 1371"/>
                  <a:gd name="T104" fmla="*/ 1758 w 2059"/>
                  <a:gd name="T105" fmla="*/ 296 h 1371"/>
                  <a:gd name="T106" fmla="*/ 1727 w 2059"/>
                  <a:gd name="T107" fmla="*/ 353 h 1371"/>
                  <a:gd name="T108" fmla="*/ 1780 w 2059"/>
                  <a:gd name="T109" fmla="*/ 348 h 1371"/>
                  <a:gd name="T110" fmla="*/ 1953 w 2059"/>
                  <a:gd name="T111" fmla="*/ 270 h 1371"/>
                  <a:gd name="T112" fmla="*/ 2028 w 2059"/>
                  <a:gd name="T113" fmla="*/ 251 h 1371"/>
                  <a:gd name="T114" fmla="*/ 658 w 2059"/>
                  <a:gd name="T115" fmla="*/ 590 h 1371"/>
                  <a:gd name="T116" fmla="*/ 687 w 2059"/>
                  <a:gd name="T117" fmla="*/ 546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59" h="1371">
                    <a:moveTo>
                      <a:pt x="2059" y="223"/>
                    </a:moveTo>
                    <a:cubicBezTo>
                      <a:pt x="2059" y="216"/>
                      <a:pt x="2050" y="214"/>
                      <a:pt x="2045" y="210"/>
                    </a:cubicBezTo>
                    <a:cubicBezTo>
                      <a:pt x="2042" y="208"/>
                      <a:pt x="2038" y="208"/>
                      <a:pt x="2034" y="207"/>
                    </a:cubicBezTo>
                    <a:cubicBezTo>
                      <a:pt x="2024" y="203"/>
                      <a:pt x="2017" y="200"/>
                      <a:pt x="2018" y="218"/>
                    </a:cubicBezTo>
                    <a:cubicBezTo>
                      <a:pt x="2012" y="205"/>
                      <a:pt x="2006" y="194"/>
                      <a:pt x="1994" y="188"/>
                    </a:cubicBezTo>
                    <a:cubicBezTo>
                      <a:pt x="1989" y="186"/>
                      <a:pt x="1984" y="185"/>
                      <a:pt x="1979" y="182"/>
                    </a:cubicBezTo>
                    <a:cubicBezTo>
                      <a:pt x="1952" y="167"/>
                      <a:pt x="1924" y="152"/>
                      <a:pt x="1891" y="156"/>
                    </a:cubicBezTo>
                    <a:cubicBezTo>
                      <a:pt x="1887" y="157"/>
                      <a:pt x="1882" y="157"/>
                      <a:pt x="1878" y="154"/>
                    </a:cubicBezTo>
                    <a:cubicBezTo>
                      <a:pt x="1874" y="151"/>
                      <a:pt x="1869" y="149"/>
                      <a:pt x="1866" y="152"/>
                    </a:cubicBezTo>
                    <a:cubicBezTo>
                      <a:pt x="1862" y="156"/>
                      <a:pt x="1864" y="161"/>
                      <a:pt x="1867" y="166"/>
                    </a:cubicBezTo>
                    <a:cubicBezTo>
                      <a:pt x="1869" y="168"/>
                      <a:pt x="1872" y="171"/>
                      <a:pt x="1867" y="174"/>
                    </a:cubicBezTo>
                    <a:cubicBezTo>
                      <a:pt x="1861" y="178"/>
                      <a:pt x="1843" y="170"/>
                      <a:pt x="1842" y="163"/>
                    </a:cubicBezTo>
                    <a:cubicBezTo>
                      <a:pt x="1844" y="160"/>
                      <a:pt x="1851" y="165"/>
                      <a:pt x="1852" y="156"/>
                    </a:cubicBezTo>
                    <a:cubicBezTo>
                      <a:pt x="1845" y="158"/>
                      <a:pt x="1839" y="152"/>
                      <a:pt x="1833" y="160"/>
                    </a:cubicBezTo>
                    <a:cubicBezTo>
                      <a:pt x="1831" y="163"/>
                      <a:pt x="1823" y="165"/>
                      <a:pt x="1820" y="164"/>
                    </a:cubicBezTo>
                    <a:cubicBezTo>
                      <a:pt x="1805" y="158"/>
                      <a:pt x="1790" y="163"/>
                      <a:pt x="1775" y="162"/>
                    </a:cubicBezTo>
                    <a:cubicBezTo>
                      <a:pt x="1769" y="161"/>
                      <a:pt x="1753" y="165"/>
                      <a:pt x="1758" y="148"/>
                    </a:cubicBezTo>
                    <a:cubicBezTo>
                      <a:pt x="1759" y="146"/>
                      <a:pt x="1754" y="140"/>
                      <a:pt x="1751" y="139"/>
                    </a:cubicBezTo>
                    <a:cubicBezTo>
                      <a:pt x="1741" y="137"/>
                      <a:pt x="1731" y="130"/>
                      <a:pt x="1720" y="134"/>
                    </a:cubicBezTo>
                    <a:cubicBezTo>
                      <a:pt x="1694" y="145"/>
                      <a:pt x="1672" y="129"/>
                      <a:pt x="1649" y="123"/>
                    </a:cubicBezTo>
                    <a:cubicBezTo>
                      <a:pt x="1651" y="118"/>
                      <a:pt x="1659" y="122"/>
                      <a:pt x="1656" y="115"/>
                    </a:cubicBezTo>
                    <a:cubicBezTo>
                      <a:pt x="1654" y="111"/>
                      <a:pt x="1628" y="111"/>
                      <a:pt x="1624" y="115"/>
                    </a:cubicBezTo>
                    <a:cubicBezTo>
                      <a:pt x="1621" y="119"/>
                      <a:pt x="1618" y="122"/>
                      <a:pt x="1614" y="123"/>
                    </a:cubicBezTo>
                    <a:cubicBezTo>
                      <a:pt x="1611" y="111"/>
                      <a:pt x="1605" y="104"/>
                      <a:pt x="1593" y="102"/>
                    </a:cubicBezTo>
                    <a:cubicBezTo>
                      <a:pt x="1577" y="99"/>
                      <a:pt x="1564" y="107"/>
                      <a:pt x="1549" y="110"/>
                    </a:cubicBezTo>
                    <a:cubicBezTo>
                      <a:pt x="1553" y="115"/>
                      <a:pt x="1559" y="118"/>
                      <a:pt x="1557" y="124"/>
                    </a:cubicBezTo>
                    <a:cubicBezTo>
                      <a:pt x="1556" y="128"/>
                      <a:pt x="1549" y="124"/>
                      <a:pt x="1547" y="126"/>
                    </a:cubicBezTo>
                    <a:cubicBezTo>
                      <a:pt x="1539" y="134"/>
                      <a:pt x="1532" y="128"/>
                      <a:pt x="1524" y="126"/>
                    </a:cubicBezTo>
                    <a:cubicBezTo>
                      <a:pt x="1512" y="124"/>
                      <a:pt x="1498" y="131"/>
                      <a:pt x="1486" y="121"/>
                    </a:cubicBezTo>
                    <a:cubicBezTo>
                      <a:pt x="1481" y="117"/>
                      <a:pt x="1481" y="125"/>
                      <a:pt x="1479" y="128"/>
                    </a:cubicBezTo>
                    <a:cubicBezTo>
                      <a:pt x="1475" y="134"/>
                      <a:pt x="1470" y="143"/>
                      <a:pt x="1461" y="136"/>
                    </a:cubicBezTo>
                    <a:cubicBezTo>
                      <a:pt x="1455" y="133"/>
                      <a:pt x="1451" y="127"/>
                      <a:pt x="1447" y="122"/>
                    </a:cubicBezTo>
                    <a:cubicBezTo>
                      <a:pt x="1446" y="120"/>
                      <a:pt x="1443" y="118"/>
                      <a:pt x="1445" y="114"/>
                    </a:cubicBezTo>
                    <a:cubicBezTo>
                      <a:pt x="1452" y="101"/>
                      <a:pt x="1444" y="87"/>
                      <a:pt x="1430" y="89"/>
                    </a:cubicBezTo>
                    <a:cubicBezTo>
                      <a:pt x="1424" y="89"/>
                      <a:pt x="1420" y="87"/>
                      <a:pt x="1415" y="86"/>
                    </a:cubicBezTo>
                    <a:cubicBezTo>
                      <a:pt x="1408" y="84"/>
                      <a:pt x="1396" y="77"/>
                      <a:pt x="1394" y="87"/>
                    </a:cubicBezTo>
                    <a:cubicBezTo>
                      <a:pt x="1391" y="100"/>
                      <a:pt x="1380" y="99"/>
                      <a:pt x="1375" y="97"/>
                    </a:cubicBezTo>
                    <a:cubicBezTo>
                      <a:pt x="1364" y="93"/>
                      <a:pt x="1347" y="104"/>
                      <a:pt x="1340" y="86"/>
                    </a:cubicBezTo>
                    <a:cubicBezTo>
                      <a:pt x="1340" y="85"/>
                      <a:pt x="1336" y="86"/>
                      <a:pt x="1335" y="85"/>
                    </a:cubicBezTo>
                    <a:cubicBezTo>
                      <a:pt x="1322" y="82"/>
                      <a:pt x="1309" y="85"/>
                      <a:pt x="1296" y="86"/>
                    </a:cubicBezTo>
                    <a:cubicBezTo>
                      <a:pt x="1294" y="86"/>
                      <a:pt x="1295" y="89"/>
                      <a:pt x="1291" y="87"/>
                    </a:cubicBezTo>
                    <a:cubicBezTo>
                      <a:pt x="1282" y="83"/>
                      <a:pt x="1272" y="81"/>
                      <a:pt x="1263" y="78"/>
                    </a:cubicBezTo>
                    <a:cubicBezTo>
                      <a:pt x="1260" y="77"/>
                      <a:pt x="1257" y="77"/>
                      <a:pt x="1255" y="81"/>
                    </a:cubicBezTo>
                    <a:cubicBezTo>
                      <a:pt x="1248" y="91"/>
                      <a:pt x="1230" y="97"/>
                      <a:pt x="1215" y="93"/>
                    </a:cubicBezTo>
                    <a:cubicBezTo>
                      <a:pt x="1239" y="83"/>
                      <a:pt x="1260" y="70"/>
                      <a:pt x="1282" y="59"/>
                    </a:cubicBezTo>
                    <a:cubicBezTo>
                      <a:pt x="1289" y="55"/>
                      <a:pt x="1295" y="50"/>
                      <a:pt x="1293" y="43"/>
                    </a:cubicBezTo>
                    <a:cubicBezTo>
                      <a:pt x="1291" y="35"/>
                      <a:pt x="1285" y="26"/>
                      <a:pt x="1278" y="25"/>
                    </a:cubicBezTo>
                    <a:cubicBezTo>
                      <a:pt x="1265" y="22"/>
                      <a:pt x="1250" y="23"/>
                      <a:pt x="1237" y="24"/>
                    </a:cubicBezTo>
                    <a:cubicBezTo>
                      <a:pt x="1225" y="26"/>
                      <a:pt x="1219" y="14"/>
                      <a:pt x="1208" y="14"/>
                    </a:cubicBezTo>
                    <a:cubicBezTo>
                      <a:pt x="1205" y="14"/>
                      <a:pt x="1208" y="12"/>
                      <a:pt x="1209" y="12"/>
                    </a:cubicBezTo>
                    <a:cubicBezTo>
                      <a:pt x="1219" y="7"/>
                      <a:pt x="1209" y="6"/>
                      <a:pt x="1207" y="4"/>
                    </a:cubicBezTo>
                    <a:cubicBezTo>
                      <a:pt x="1200" y="0"/>
                      <a:pt x="1192" y="1"/>
                      <a:pt x="1184" y="3"/>
                    </a:cubicBezTo>
                    <a:cubicBezTo>
                      <a:pt x="1169" y="7"/>
                      <a:pt x="1167" y="29"/>
                      <a:pt x="1148" y="30"/>
                    </a:cubicBezTo>
                    <a:cubicBezTo>
                      <a:pt x="1143" y="30"/>
                      <a:pt x="1128" y="39"/>
                      <a:pt x="1126" y="35"/>
                    </a:cubicBezTo>
                    <a:cubicBezTo>
                      <a:pt x="1123" y="25"/>
                      <a:pt x="1116" y="31"/>
                      <a:pt x="1113" y="32"/>
                    </a:cubicBezTo>
                    <a:cubicBezTo>
                      <a:pt x="1097" y="42"/>
                      <a:pt x="1078" y="43"/>
                      <a:pt x="1060" y="49"/>
                    </a:cubicBezTo>
                    <a:cubicBezTo>
                      <a:pt x="1049" y="53"/>
                      <a:pt x="1033" y="56"/>
                      <a:pt x="1038" y="75"/>
                    </a:cubicBezTo>
                    <a:cubicBezTo>
                      <a:pt x="1040" y="79"/>
                      <a:pt x="1038" y="80"/>
                      <a:pt x="1034" y="81"/>
                    </a:cubicBezTo>
                    <a:cubicBezTo>
                      <a:pt x="1019" y="86"/>
                      <a:pt x="1005" y="83"/>
                      <a:pt x="991" y="84"/>
                    </a:cubicBezTo>
                    <a:cubicBezTo>
                      <a:pt x="985" y="85"/>
                      <a:pt x="978" y="85"/>
                      <a:pt x="978" y="93"/>
                    </a:cubicBezTo>
                    <a:cubicBezTo>
                      <a:pt x="979" y="99"/>
                      <a:pt x="976" y="108"/>
                      <a:pt x="988" y="108"/>
                    </a:cubicBezTo>
                    <a:cubicBezTo>
                      <a:pt x="993" y="108"/>
                      <a:pt x="996" y="113"/>
                      <a:pt x="997" y="118"/>
                    </a:cubicBezTo>
                    <a:cubicBezTo>
                      <a:pt x="987" y="124"/>
                      <a:pt x="982" y="115"/>
                      <a:pt x="976" y="112"/>
                    </a:cubicBezTo>
                    <a:cubicBezTo>
                      <a:pt x="962" y="105"/>
                      <a:pt x="946" y="107"/>
                      <a:pt x="937" y="116"/>
                    </a:cubicBezTo>
                    <a:cubicBezTo>
                      <a:pt x="934" y="120"/>
                      <a:pt x="937" y="122"/>
                      <a:pt x="939" y="124"/>
                    </a:cubicBezTo>
                    <a:cubicBezTo>
                      <a:pt x="941" y="127"/>
                      <a:pt x="947" y="125"/>
                      <a:pt x="947" y="131"/>
                    </a:cubicBezTo>
                    <a:cubicBezTo>
                      <a:pt x="933" y="133"/>
                      <a:pt x="924" y="129"/>
                      <a:pt x="928" y="112"/>
                    </a:cubicBezTo>
                    <a:cubicBezTo>
                      <a:pt x="929" y="109"/>
                      <a:pt x="931" y="104"/>
                      <a:pt x="925" y="102"/>
                    </a:cubicBezTo>
                    <a:cubicBezTo>
                      <a:pt x="921" y="113"/>
                      <a:pt x="920" y="115"/>
                      <a:pt x="911" y="120"/>
                    </a:cubicBezTo>
                    <a:cubicBezTo>
                      <a:pt x="903" y="124"/>
                      <a:pt x="902" y="127"/>
                      <a:pt x="909" y="133"/>
                    </a:cubicBezTo>
                    <a:cubicBezTo>
                      <a:pt x="913" y="137"/>
                      <a:pt x="915" y="141"/>
                      <a:pt x="912" y="149"/>
                    </a:cubicBezTo>
                    <a:cubicBezTo>
                      <a:pt x="905" y="163"/>
                      <a:pt x="909" y="168"/>
                      <a:pt x="925" y="168"/>
                    </a:cubicBezTo>
                    <a:cubicBezTo>
                      <a:pt x="933" y="168"/>
                      <a:pt x="940" y="168"/>
                      <a:pt x="947" y="173"/>
                    </a:cubicBezTo>
                    <a:cubicBezTo>
                      <a:pt x="955" y="177"/>
                      <a:pt x="953" y="181"/>
                      <a:pt x="947" y="186"/>
                    </a:cubicBezTo>
                    <a:cubicBezTo>
                      <a:pt x="947" y="185"/>
                      <a:pt x="946" y="184"/>
                      <a:pt x="945" y="182"/>
                    </a:cubicBezTo>
                    <a:cubicBezTo>
                      <a:pt x="942" y="173"/>
                      <a:pt x="937" y="171"/>
                      <a:pt x="926" y="173"/>
                    </a:cubicBezTo>
                    <a:cubicBezTo>
                      <a:pt x="914" y="176"/>
                      <a:pt x="919" y="182"/>
                      <a:pt x="921" y="187"/>
                    </a:cubicBezTo>
                    <a:cubicBezTo>
                      <a:pt x="921" y="189"/>
                      <a:pt x="921" y="190"/>
                      <a:pt x="920" y="192"/>
                    </a:cubicBezTo>
                    <a:cubicBezTo>
                      <a:pt x="911" y="211"/>
                      <a:pt x="885" y="220"/>
                      <a:pt x="864" y="211"/>
                    </a:cubicBezTo>
                    <a:cubicBezTo>
                      <a:pt x="886" y="209"/>
                      <a:pt x="891" y="206"/>
                      <a:pt x="901" y="193"/>
                    </a:cubicBezTo>
                    <a:cubicBezTo>
                      <a:pt x="905" y="188"/>
                      <a:pt x="909" y="180"/>
                      <a:pt x="904" y="176"/>
                    </a:cubicBezTo>
                    <a:cubicBezTo>
                      <a:pt x="897" y="170"/>
                      <a:pt x="898" y="163"/>
                      <a:pt x="898" y="156"/>
                    </a:cubicBezTo>
                    <a:cubicBezTo>
                      <a:pt x="898" y="146"/>
                      <a:pt x="904" y="136"/>
                      <a:pt x="894" y="127"/>
                    </a:cubicBezTo>
                    <a:cubicBezTo>
                      <a:pt x="891" y="125"/>
                      <a:pt x="894" y="123"/>
                      <a:pt x="895" y="121"/>
                    </a:cubicBezTo>
                    <a:cubicBezTo>
                      <a:pt x="899" y="114"/>
                      <a:pt x="902" y="106"/>
                      <a:pt x="893" y="100"/>
                    </a:cubicBezTo>
                    <a:cubicBezTo>
                      <a:pt x="883" y="94"/>
                      <a:pt x="866" y="98"/>
                      <a:pt x="862" y="106"/>
                    </a:cubicBezTo>
                    <a:cubicBezTo>
                      <a:pt x="858" y="113"/>
                      <a:pt x="857" y="123"/>
                      <a:pt x="849" y="125"/>
                    </a:cubicBezTo>
                    <a:cubicBezTo>
                      <a:pt x="840" y="128"/>
                      <a:pt x="839" y="132"/>
                      <a:pt x="843" y="139"/>
                    </a:cubicBezTo>
                    <a:cubicBezTo>
                      <a:pt x="846" y="143"/>
                      <a:pt x="844" y="147"/>
                      <a:pt x="842" y="150"/>
                    </a:cubicBezTo>
                    <a:cubicBezTo>
                      <a:pt x="839" y="155"/>
                      <a:pt x="840" y="159"/>
                      <a:pt x="846" y="160"/>
                    </a:cubicBezTo>
                    <a:cubicBezTo>
                      <a:pt x="851" y="161"/>
                      <a:pt x="853" y="165"/>
                      <a:pt x="855" y="169"/>
                    </a:cubicBezTo>
                    <a:cubicBezTo>
                      <a:pt x="857" y="172"/>
                      <a:pt x="864" y="173"/>
                      <a:pt x="860" y="178"/>
                    </a:cubicBezTo>
                    <a:cubicBezTo>
                      <a:pt x="856" y="182"/>
                      <a:pt x="852" y="180"/>
                      <a:pt x="848" y="177"/>
                    </a:cubicBezTo>
                    <a:cubicBezTo>
                      <a:pt x="826" y="164"/>
                      <a:pt x="802" y="153"/>
                      <a:pt x="775" y="156"/>
                    </a:cubicBezTo>
                    <a:cubicBezTo>
                      <a:pt x="775" y="159"/>
                      <a:pt x="775" y="164"/>
                      <a:pt x="776" y="166"/>
                    </a:cubicBezTo>
                    <a:cubicBezTo>
                      <a:pt x="781" y="173"/>
                      <a:pt x="775" y="176"/>
                      <a:pt x="771" y="179"/>
                    </a:cubicBezTo>
                    <a:cubicBezTo>
                      <a:pt x="766" y="182"/>
                      <a:pt x="763" y="179"/>
                      <a:pt x="763" y="173"/>
                    </a:cubicBezTo>
                    <a:cubicBezTo>
                      <a:pt x="763" y="172"/>
                      <a:pt x="759" y="171"/>
                      <a:pt x="758" y="171"/>
                    </a:cubicBezTo>
                    <a:cubicBezTo>
                      <a:pt x="747" y="177"/>
                      <a:pt x="733" y="175"/>
                      <a:pt x="722" y="181"/>
                    </a:cubicBezTo>
                    <a:cubicBezTo>
                      <a:pt x="717" y="183"/>
                      <a:pt x="714" y="187"/>
                      <a:pt x="709" y="184"/>
                    </a:cubicBezTo>
                    <a:cubicBezTo>
                      <a:pt x="703" y="181"/>
                      <a:pt x="713" y="176"/>
                      <a:pt x="707" y="172"/>
                    </a:cubicBezTo>
                    <a:cubicBezTo>
                      <a:pt x="698" y="178"/>
                      <a:pt x="687" y="178"/>
                      <a:pt x="677" y="181"/>
                    </a:cubicBezTo>
                    <a:cubicBezTo>
                      <a:pt x="666" y="184"/>
                      <a:pt x="652" y="188"/>
                      <a:pt x="648" y="197"/>
                    </a:cubicBezTo>
                    <a:cubicBezTo>
                      <a:pt x="642" y="208"/>
                      <a:pt x="635" y="203"/>
                      <a:pt x="628" y="204"/>
                    </a:cubicBezTo>
                    <a:cubicBezTo>
                      <a:pt x="626" y="204"/>
                      <a:pt x="621" y="200"/>
                      <a:pt x="620" y="197"/>
                    </a:cubicBezTo>
                    <a:cubicBezTo>
                      <a:pt x="618" y="192"/>
                      <a:pt x="625" y="193"/>
                      <a:pt x="627" y="191"/>
                    </a:cubicBezTo>
                    <a:cubicBezTo>
                      <a:pt x="629" y="189"/>
                      <a:pt x="636" y="190"/>
                      <a:pt x="633" y="185"/>
                    </a:cubicBezTo>
                    <a:cubicBezTo>
                      <a:pt x="631" y="179"/>
                      <a:pt x="626" y="174"/>
                      <a:pt x="618" y="174"/>
                    </a:cubicBezTo>
                    <a:cubicBezTo>
                      <a:pt x="615" y="174"/>
                      <a:pt x="609" y="173"/>
                      <a:pt x="610" y="178"/>
                    </a:cubicBezTo>
                    <a:cubicBezTo>
                      <a:pt x="612" y="186"/>
                      <a:pt x="603" y="195"/>
                      <a:pt x="612" y="203"/>
                    </a:cubicBezTo>
                    <a:cubicBezTo>
                      <a:pt x="615" y="206"/>
                      <a:pt x="612" y="211"/>
                      <a:pt x="610" y="215"/>
                    </a:cubicBezTo>
                    <a:cubicBezTo>
                      <a:pt x="608" y="219"/>
                      <a:pt x="606" y="216"/>
                      <a:pt x="604" y="215"/>
                    </a:cubicBezTo>
                    <a:cubicBezTo>
                      <a:pt x="590" y="204"/>
                      <a:pt x="581" y="219"/>
                      <a:pt x="571" y="223"/>
                    </a:cubicBezTo>
                    <a:cubicBezTo>
                      <a:pt x="563" y="226"/>
                      <a:pt x="570" y="236"/>
                      <a:pt x="573" y="243"/>
                    </a:cubicBezTo>
                    <a:cubicBezTo>
                      <a:pt x="563" y="243"/>
                      <a:pt x="555" y="241"/>
                      <a:pt x="549" y="237"/>
                    </a:cubicBezTo>
                    <a:cubicBezTo>
                      <a:pt x="544" y="234"/>
                      <a:pt x="540" y="234"/>
                      <a:pt x="535" y="234"/>
                    </a:cubicBezTo>
                    <a:cubicBezTo>
                      <a:pt x="533" y="235"/>
                      <a:pt x="532" y="236"/>
                      <a:pt x="533" y="239"/>
                    </a:cubicBezTo>
                    <a:cubicBezTo>
                      <a:pt x="535" y="246"/>
                      <a:pt x="540" y="246"/>
                      <a:pt x="545" y="247"/>
                    </a:cubicBezTo>
                    <a:cubicBezTo>
                      <a:pt x="546" y="247"/>
                      <a:pt x="546" y="248"/>
                      <a:pt x="547" y="249"/>
                    </a:cubicBezTo>
                    <a:cubicBezTo>
                      <a:pt x="531" y="255"/>
                      <a:pt x="513" y="246"/>
                      <a:pt x="515" y="232"/>
                    </a:cubicBezTo>
                    <a:cubicBezTo>
                      <a:pt x="517" y="218"/>
                      <a:pt x="509" y="216"/>
                      <a:pt x="502" y="210"/>
                    </a:cubicBezTo>
                    <a:cubicBezTo>
                      <a:pt x="500" y="209"/>
                      <a:pt x="496" y="211"/>
                      <a:pt x="497" y="206"/>
                    </a:cubicBezTo>
                    <a:cubicBezTo>
                      <a:pt x="500" y="203"/>
                      <a:pt x="503" y="205"/>
                      <a:pt x="506" y="206"/>
                    </a:cubicBezTo>
                    <a:cubicBezTo>
                      <a:pt x="523" y="215"/>
                      <a:pt x="542" y="218"/>
                      <a:pt x="561" y="216"/>
                    </a:cubicBezTo>
                    <a:cubicBezTo>
                      <a:pt x="569" y="215"/>
                      <a:pt x="577" y="212"/>
                      <a:pt x="580" y="202"/>
                    </a:cubicBezTo>
                    <a:cubicBezTo>
                      <a:pt x="582" y="193"/>
                      <a:pt x="575" y="189"/>
                      <a:pt x="568" y="185"/>
                    </a:cubicBezTo>
                    <a:cubicBezTo>
                      <a:pt x="558" y="179"/>
                      <a:pt x="544" y="175"/>
                      <a:pt x="536" y="167"/>
                    </a:cubicBezTo>
                    <a:cubicBezTo>
                      <a:pt x="522" y="156"/>
                      <a:pt x="502" y="172"/>
                      <a:pt x="492" y="153"/>
                    </a:cubicBezTo>
                    <a:cubicBezTo>
                      <a:pt x="492" y="153"/>
                      <a:pt x="490" y="153"/>
                      <a:pt x="489" y="153"/>
                    </a:cubicBezTo>
                    <a:cubicBezTo>
                      <a:pt x="482" y="157"/>
                      <a:pt x="474" y="151"/>
                      <a:pt x="467" y="155"/>
                    </a:cubicBezTo>
                    <a:cubicBezTo>
                      <a:pt x="466" y="151"/>
                      <a:pt x="468" y="151"/>
                      <a:pt x="470" y="150"/>
                    </a:cubicBezTo>
                    <a:cubicBezTo>
                      <a:pt x="473" y="148"/>
                      <a:pt x="477" y="146"/>
                      <a:pt x="477" y="141"/>
                    </a:cubicBezTo>
                    <a:cubicBezTo>
                      <a:pt x="476" y="139"/>
                      <a:pt x="446" y="129"/>
                      <a:pt x="445" y="131"/>
                    </a:cubicBezTo>
                    <a:cubicBezTo>
                      <a:pt x="442" y="142"/>
                      <a:pt x="428" y="134"/>
                      <a:pt x="424" y="147"/>
                    </a:cubicBezTo>
                    <a:cubicBezTo>
                      <a:pt x="422" y="138"/>
                      <a:pt x="428" y="134"/>
                      <a:pt x="429" y="131"/>
                    </a:cubicBezTo>
                    <a:cubicBezTo>
                      <a:pt x="415" y="127"/>
                      <a:pt x="408" y="149"/>
                      <a:pt x="393" y="138"/>
                    </a:cubicBezTo>
                    <a:cubicBezTo>
                      <a:pt x="393" y="139"/>
                      <a:pt x="393" y="140"/>
                      <a:pt x="392" y="140"/>
                    </a:cubicBezTo>
                    <a:cubicBezTo>
                      <a:pt x="388" y="148"/>
                      <a:pt x="376" y="153"/>
                      <a:pt x="369" y="150"/>
                    </a:cubicBezTo>
                    <a:cubicBezTo>
                      <a:pt x="365" y="149"/>
                      <a:pt x="344" y="157"/>
                      <a:pt x="343" y="161"/>
                    </a:cubicBezTo>
                    <a:cubicBezTo>
                      <a:pt x="342" y="162"/>
                      <a:pt x="341" y="164"/>
                      <a:pt x="342" y="165"/>
                    </a:cubicBezTo>
                    <a:cubicBezTo>
                      <a:pt x="347" y="175"/>
                      <a:pt x="338" y="172"/>
                      <a:pt x="336" y="170"/>
                    </a:cubicBezTo>
                    <a:cubicBezTo>
                      <a:pt x="330" y="168"/>
                      <a:pt x="326" y="165"/>
                      <a:pt x="322" y="172"/>
                    </a:cubicBezTo>
                    <a:cubicBezTo>
                      <a:pt x="318" y="181"/>
                      <a:pt x="329" y="178"/>
                      <a:pt x="330" y="181"/>
                    </a:cubicBezTo>
                    <a:cubicBezTo>
                      <a:pt x="320" y="198"/>
                      <a:pt x="302" y="209"/>
                      <a:pt x="296" y="230"/>
                    </a:cubicBezTo>
                    <a:cubicBezTo>
                      <a:pt x="295" y="234"/>
                      <a:pt x="290" y="246"/>
                      <a:pt x="280" y="246"/>
                    </a:cubicBezTo>
                    <a:cubicBezTo>
                      <a:pt x="276" y="246"/>
                      <a:pt x="276" y="249"/>
                      <a:pt x="273" y="252"/>
                    </a:cubicBezTo>
                    <a:cubicBezTo>
                      <a:pt x="265" y="262"/>
                      <a:pt x="252" y="268"/>
                      <a:pt x="241" y="276"/>
                    </a:cubicBezTo>
                    <a:cubicBezTo>
                      <a:pt x="235" y="280"/>
                      <a:pt x="225" y="279"/>
                      <a:pt x="226" y="289"/>
                    </a:cubicBezTo>
                    <a:cubicBezTo>
                      <a:pt x="227" y="299"/>
                      <a:pt x="220" y="311"/>
                      <a:pt x="235" y="314"/>
                    </a:cubicBezTo>
                    <a:cubicBezTo>
                      <a:pt x="236" y="322"/>
                      <a:pt x="225" y="313"/>
                      <a:pt x="226" y="321"/>
                    </a:cubicBezTo>
                    <a:cubicBezTo>
                      <a:pt x="227" y="327"/>
                      <a:pt x="234" y="321"/>
                      <a:pt x="237" y="325"/>
                    </a:cubicBezTo>
                    <a:cubicBezTo>
                      <a:pt x="236" y="330"/>
                      <a:pt x="230" y="331"/>
                      <a:pt x="231" y="334"/>
                    </a:cubicBezTo>
                    <a:cubicBezTo>
                      <a:pt x="238" y="340"/>
                      <a:pt x="245" y="344"/>
                      <a:pt x="253" y="342"/>
                    </a:cubicBezTo>
                    <a:cubicBezTo>
                      <a:pt x="260" y="339"/>
                      <a:pt x="266" y="333"/>
                      <a:pt x="272" y="329"/>
                    </a:cubicBezTo>
                    <a:cubicBezTo>
                      <a:pt x="278" y="326"/>
                      <a:pt x="284" y="323"/>
                      <a:pt x="286" y="332"/>
                    </a:cubicBezTo>
                    <a:cubicBezTo>
                      <a:pt x="289" y="348"/>
                      <a:pt x="301" y="360"/>
                      <a:pt x="304" y="376"/>
                    </a:cubicBezTo>
                    <a:cubicBezTo>
                      <a:pt x="305" y="382"/>
                      <a:pt x="309" y="383"/>
                      <a:pt x="311" y="380"/>
                    </a:cubicBezTo>
                    <a:cubicBezTo>
                      <a:pt x="316" y="373"/>
                      <a:pt x="324" y="373"/>
                      <a:pt x="332" y="370"/>
                    </a:cubicBezTo>
                    <a:cubicBezTo>
                      <a:pt x="335" y="368"/>
                      <a:pt x="341" y="366"/>
                      <a:pt x="339" y="357"/>
                    </a:cubicBezTo>
                    <a:cubicBezTo>
                      <a:pt x="337" y="348"/>
                      <a:pt x="337" y="336"/>
                      <a:pt x="350" y="329"/>
                    </a:cubicBezTo>
                    <a:cubicBezTo>
                      <a:pt x="361" y="323"/>
                      <a:pt x="360" y="309"/>
                      <a:pt x="350" y="307"/>
                    </a:cubicBezTo>
                    <a:cubicBezTo>
                      <a:pt x="339" y="304"/>
                      <a:pt x="342" y="296"/>
                      <a:pt x="343" y="290"/>
                    </a:cubicBezTo>
                    <a:cubicBezTo>
                      <a:pt x="346" y="275"/>
                      <a:pt x="357" y="265"/>
                      <a:pt x="370" y="258"/>
                    </a:cubicBezTo>
                    <a:cubicBezTo>
                      <a:pt x="378" y="254"/>
                      <a:pt x="384" y="250"/>
                      <a:pt x="385" y="239"/>
                    </a:cubicBezTo>
                    <a:cubicBezTo>
                      <a:pt x="387" y="225"/>
                      <a:pt x="400" y="218"/>
                      <a:pt x="414" y="222"/>
                    </a:cubicBezTo>
                    <a:cubicBezTo>
                      <a:pt x="419" y="224"/>
                      <a:pt x="423" y="229"/>
                      <a:pt x="419" y="235"/>
                    </a:cubicBezTo>
                    <a:cubicBezTo>
                      <a:pt x="415" y="240"/>
                      <a:pt x="411" y="246"/>
                      <a:pt x="406" y="250"/>
                    </a:cubicBezTo>
                    <a:cubicBezTo>
                      <a:pt x="391" y="260"/>
                      <a:pt x="380" y="269"/>
                      <a:pt x="383" y="292"/>
                    </a:cubicBezTo>
                    <a:cubicBezTo>
                      <a:pt x="385" y="304"/>
                      <a:pt x="388" y="309"/>
                      <a:pt x="396" y="311"/>
                    </a:cubicBezTo>
                    <a:cubicBezTo>
                      <a:pt x="406" y="313"/>
                      <a:pt x="416" y="315"/>
                      <a:pt x="425" y="309"/>
                    </a:cubicBezTo>
                    <a:cubicBezTo>
                      <a:pt x="433" y="305"/>
                      <a:pt x="442" y="307"/>
                      <a:pt x="450" y="306"/>
                    </a:cubicBezTo>
                    <a:cubicBezTo>
                      <a:pt x="454" y="305"/>
                      <a:pt x="457" y="307"/>
                      <a:pt x="458" y="311"/>
                    </a:cubicBezTo>
                    <a:cubicBezTo>
                      <a:pt x="459" y="315"/>
                      <a:pt x="457" y="317"/>
                      <a:pt x="453" y="318"/>
                    </a:cubicBezTo>
                    <a:cubicBezTo>
                      <a:pt x="446" y="320"/>
                      <a:pt x="441" y="322"/>
                      <a:pt x="433" y="321"/>
                    </a:cubicBezTo>
                    <a:cubicBezTo>
                      <a:pt x="423" y="319"/>
                      <a:pt x="412" y="321"/>
                      <a:pt x="404" y="328"/>
                    </a:cubicBezTo>
                    <a:cubicBezTo>
                      <a:pt x="398" y="334"/>
                      <a:pt x="409" y="338"/>
                      <a:pt x="411" y="343"/>
                    </a:cubicBezTo>
                    <a:cubicBezTo>
                      <a:pt x="413" y="346"/>
                      <a:pt x="413" y="351"/>
                      <a:pt x="411" y="353"/>
                    </a:cubicBezTo>
                    <a:cubicBezTo>
                      <a:pt x="408" y="356"/>
                      <a:pt x="403" y="355"/>
                      <a:pt x="401" y="353"/>
                    </a:cubicBezTo>
                    <a:cubicBezTo>
                      <a:pt x="397" y="349"/>
                      <a:pt x="391" y="345"/>
                      <a:pt x="387" y="349"/>
                    </a:cubicBezTo>
                    <a:cubicBezTo>
                      <a:pt x="382" y="354"/>
                      <a:pt x="378" y="360"/>
                      <a:pt x="379" y="369"/>
                    </a:cubicBezTo>
                    <a:cubicBezTo>
                      <a:pt x="380" y="376"/>
                      <a:pt x="386" y="389"/>
                      <a:pt x="368" y="391"/>
                    </a:cubicBezTo>
                    <a:cubicBezTo>
                      <a:pt x="362" y="391"/>
                      <a:pt x="358" y="394"/>
                      <a:pt x="352" y="391"/>
                    </a:cubicBezTo>
                    <a:cubicBezTo>
                      <a:pt x="348" y="388"/>
                      <a:pt x="342" y="389"/>
                      <a:pt x="338" y="393"/>
                    </a:cubicBezTo>
                    <a:cubicBezTo>
                      <a:pt x="323" y="407"/>
                      <a:pt x="301" y="388"/>
                      <a:pt x="286" y="402"/>
                    </a:cubicBezTo>
                    <a:cubicBezTo>
                      <a:pt x="285" y="401"/>
                      <a:pt x="284" y="399"/>
                      <a:pt x="283" y="398"/>
                    </a:cubicBezTo>
                    <a:cubicBezTo>
                      <a:pt x="268" y="392"/>
                      <a:pt x="279" y="381"/>
                      <a:pt x="278" y="372"/>
                    </a:cubicBezTo>
                    <a:cubicBezTo>
                      <a:pt x="278" y="365"/>
                      <a:pt x="274" y="357"/>
                      <a:pt x="279" y="350"/>
                    </a:cubicBezTo>
                    <a:cubicBezTo>
                      <a:pt x="278" y="350"/>
                      <a:pt x="277" y="349"/>
                      <a:pt x="275" y="348"/>
                    </a:cubicBezTo>
                    <a:cubicBezTo>
                      <a:pt x="272" y="358"/>
                      <a:pt x="254" y="354"/>
                      <a:pt x="255" y="370"/>
                    </a:cubicBezTo>
                    <a:cubicBezTo>
                      <a:pt x="256" y="378"/>
                      <a:pt x="260" y="386"/>
                      <a:pt x="261" y="394"/>
                    </a:cubicBezTo>
                    <a:cubicBezTo>
                      <a:pt x="262" y="399"/>
                      <a:pt x="268" y="412"/>
                      <a:pt x="251" y="406"/>
                    </a:cubicBezTo>
                    <a:cubicBezTo>
                      <a:pt x="246" y="404"/>
                      <a:pt x="237" y="407"/>
                      <a:pt x="232" y="410"/>
                    </a:cubicBezTo>
                    <a:cubicBezTo>
                      <a:pt x="217" y="420"/>
                      <a:pt x="207" y="436"/>
                      <a:pt x="191" y="447"/>
                    </a:cubicBezTo>
                    <a:cubicBezTo>
                      <a:pt x="181" y="454"/>
                      <a:pt x="175" y="465"/>
                      <a:pt x="160" y="458"/>
                    </a:cubicBezTo>
                    <a:cubicBezTo>
                      <a:pt x="157" y="457"/>
                      <a:pt x="154" y="459"/>
                      <a:pt x="155" y="463"/>
                    </a:cubicBezTo>
                    <a:cubicBezTo>
                      <a:pt x="160" y="481"/>
                      <a:pt x="151" y="474"/>
                      <a:pt x="142" y="471"/>
                    </a:cubicBezTo>
                    <a:cubicBezTo>
                      <a:pt x="137" y="469"/>
                      <a:pt x="128" y="469"/>
                      <a:pt x="126" y="475"/>
                    </a:cubicBezTo>
                    <a:cubicBezTo>
                      <a:pt x="124" y="480"/>
                      <a:pt x="129" y="485"/>
                      <a:pt x="137" y="486"/>
                    </a:cubicBezTo>
                    <a:cubicBezTo>
                      <a:pt x="164" y="489"/>
                      <a:pt x="165" y="517"/>
                      <a:pt x="158" y="536"/>
                    </a:cubicBezTo>
                    <a:cubicBezTo>
                      <a:pt x="155" y="541"/>
                      <a:pt x="151" y="541"/>
                      <a:pt x="148" y="540"/>
                    </a:cubicBezTo>
                    <a:cubicBezTo>
                      <a:pt x="131" y="534"/>
                      <a:pt x="113" y="539"/>
                      <a:pt x="96" y="535"/>
                    </a:cubicBezTo>
                    <a:cubicBezTo>
                      <a:pt x="91" y="533"/>
                      <a:pt x="81" y="536"/>
                      <a:pt x="84" y="548"/>
                    </a:cubicBezTo>
                    <a:cubicBezTo>
                      <a:pt x="87" y="559"/>
                      <a:pt x="88" y="572"/>
                      <a:pt x="82" y="582"/>
                    </a:cubicBezTo>
                    <a:cubicBezTo>
                      <a:pt x="75" y="594"/>
                      <a:pt x="89" y="602"/>
                      <a:pt x="86" y="613"/>
                    </a:cubicBezTo>
                    <a:cubicBezTo>
                      <a:pt x="86" y="613"/>
                      <a:pt x="90" y="615"/>
                      <a:pt x="91" y="615"/>
                    </a:cubicBezTo>
                    <a:cubicBezTo>
                      <a:pt x="101" y="609"/>
                      <a:pt x="106" y="614"/>
                      <a:pt x="111" y="621"/>
                    </a:cubicBezTo>
                    <a:cubicBezTo>
                      <a:pt x="114" y="626"/>
                      <a:pt x="117" y="622"/>
                      <a:pt x="120" y="622"/>
                    </a:cubicBezTo>
                    <a:cubicBezTo>
                      <a:pt x="127" y="620"/>
                      <a:pt x="134" y="618"/>
                      <a:pt x="142" y="618"/>
                    </a:cubicBezTo>
                    <a:cubicBezTo>
                      <a:pt x="154" y="618"/>
                      <a:pt x="171" y="602"/>
                      <a:pt x="173" y="590"/>
                    </a:cubicBezTo>
                    <a:cubicBezTo>
                      <a:pt x="174" y="576"/>
                      <a:pt x="180" y="567"/>
                      <a:pt x="195" y="564"/>
                    </a:cubicBezTo>
                    <a:cubicBezTo>
                      <a:pt x="200" y="562"/>
                      <a:pt x="207" y="557"/>
                      <a:pt x="206" y="551"/>
                    </a:cubicBezTo>
                    <a:cubicBezTo>
                      <a:pt x="205" y="538"/>
                      <a:pt x="213" y="539"/>
                      <a:pt x="220" y="540"/>
                    </a:cubicBezTo>
                    <a:cubicBezTo>
                      <a:pt x="234" y="543"/>
                      <a:pt x="246" y="540"/>
                      <a:pt x="257" y="530"/>
                    </a:cubicBezTo>
                    <a:cubicBezTo>
                      <a:pt x="263" y="525"/>
                      <a:pt x="273" y="526"/>
                      <a:pt x="276" y="535"/>
                    </a:cubicBezTo>
                    <a:cubicBezTo>
                      <a:pt x="282" y="551"/>
                      <a:pt x="295" y="557"/>
                      <a:pt x="308" y="565"/>
                    </a:cubicBezTo>
                    <a:cubicBezTo>
                      <a:pt x="321" y="572"/>
                      <a:pt x="335" y="580"/>
                      <a:pt x="331" y="600"/>
                    </a:cubicBezTo>
                    <a:cubicBezTo>
                      <a:pt x="333" y="594"/>
                      <a:pt x="344" y="593"/>
                      <a:pt x="341" y="586"/>
                    </a:cubicBezTo>
                    <a:cubicBezTo>
                      <a:pt x="335" y="570"/>
                      <a:pt x="347" y="578"/>
                      <a:pt x="352" y="577"/>
                    </a:cubicBezTo>
                    <a:cubicBezTo>
                      <a:pt x="352" y="573"/>
                      <a:pt x="350" y="571"/>
                      <a:pt x="347" y="570"/>
                    </a:cubicBezTo>
                    <a:cubicBezTo>
                      <a:pt x="328" y="561"/>
                      <a:pt x="313" y="548"/>
                      <a:pt x="301" y="530"/>
                    </a:cubicBezTo>
                    <a:cubicBezTo>
                      <a:pt x="297" y="524"/>
                      <a:pt x="296" y="518"/>
                      <a:pt x="301" y="512"/>
                    </a:cubicBezTo>
                    <a:cubicBezTo>
                      <a:pt x="307" y="505"/>
                      <a:pt x="310" y="514"/>
                      <a:pt x="313" y="517"/>
                    </a:cubicBezTo>
                    <a:cubicBezTo>
                      <a:pt x="325" y="530"/>
                      <a:pt x="337" y="544"/>
                      <a:pt x="355" y="550"/>
                    </a:cubicBezTo>
                    <a:cubicBezTo>
                      <a:pt x="364" y="554"/>
                      <a:pt x="364" y="561"/>
                      <a:pt x="364" y="568"/>
                    </a:cubicBezTo>
                    <a:cubicBezTo>
                      <a:pt x="364" y="580"/>
                      <a:pt x="375" y="593"/>
                      <a:pt x="388" y="595"/>
                    </a:cubicBezTo>
                    <a:cubicBezTo>
                      <a:pt x="382" y="600"/>
                      <a:pt x="379" y="606"/>
                      <a:pt x="385" y="611"/>
                    </a:cubicBezTo>
                    <a:cubicBezTo>
                      <a:pt x="388" y="614"/>
                      <a:pt x="396" y="621"/>
                      <a:pt x="398" y="616"/>
                    </a:cubicBezTo>
                    <a:cubicBezTo>
                      <a:pt x="401" y="609"/>
                      <a:pt x="406" y="604"/>
                      <a:pt x="409" y="597"/>
                    </a:cubicBezTo>
                    <a:cubicBezTo>
                      <a:pt x="397" y="595"/>
                      <a:pt x="402" y="582"/>
                      <a:pt x="392" y="576"/>
                    </a:cubicBezTo>
                    <a:cubicBezTo>
                      <a:pt x="405" y="577"/>
                      <a:pt x="413" y="565"/>
                      <a:pt x="421" y="568"/>
                    </a:cubicBezTo>
                    <a:cubicBezTo>
                      <a:pt x="434" y="573"/>
                      <a:pt x="443" y="568"/>
                      <a:pt x="455" y="563"/>
                    </a:cubicBezTo>
                    <a:cubicBezTo>
                      <a:pt x="443" y="554"/>
                      <a:pt x="440" y="545"/>
                      <a:pt x="452" y="534"/>
                    </a:cubicBezTo>
                    <a:cubicBezTo>
                      <a:pt x="454" y="533"/>
                      <a:pt x="454" y="531"/>
                      <a:pt x="455" y="529"/>
                    </a:cubicBezTo>
                    <a:cubicBezTo>
                      <a:pt x="462" y="520"/>
                      <a:pt x="465" y="509"/>
                      <a:pt x="474" y="502"/>
                    </a:cubicBezTo>
                    <a:cubicBezTo>
                      <a:pt x="479" y="498"/>
                      <a:pt x="502" y="501"/>
                      <a:pt x="501" y="506"/>
                    </a:cubicBezTo>
                    <a:cubicBezTo>
                      <a:pt x="499" y="511"/>
                      <a:pt x="497" y="515"/>
                      <a:pt x="502" y="519"/>
                    </a:cubicBezTo>
                    <a:cubicBezTo>
                      <a:pt x="508" y="525"/>
                      <a:pt x="513" y="523"/>
                      <a:pt x="519" y="519"/>
                    </a:cubicBezTo>
                    <a:cubicBezTo>
                      <a:pt x="521" y="517"/>
                      <a:pt x="525" y="514"/>
                      <a:pt x="520" y="512"/>
                    </a:cubicBezTo>
                    <a:cubicBezTo>
                      <a:pt x="507" y="505"/>
                      <a:pt x="520" y="501"/>
                      <a:pt x="522" y="501"/>
                    </a:cubicBezTo>
                    <a:cubicBezTo>
                      <a:pt x="533" y="498"/>
                      <a:pt x="542" y="489"/>
                      <a:pt x="556" y="494"/>
                    </a:cubicBezTo>
                    <a:cubicBezTo>
                      <a:pt x="545" y="500"/>
                      <a:pt x="546" y="512"/>
                      <a:pt x="536" y="521"/>
                    </a:cubicBezTo>
                    <a:cubicBezTo>
                      <a:pt x="554" y="523"/>
                      <a:pt x="560" y="540"/>
                      <a:pt x="576" y="543"/>
                    </a:cubicBezTo>
                    <a:cubicBezTo>
                      <a:pt x="579" y="543"/>
                      <a:pt x="584" y="551"/>
                      <a:pt x="582" y="556"/>
                    </a:cubicBezTo>
                    <a:cubicBezTo>
                      <a:pt x="580" y="561"/>
                      <a:pt x="576" y="564"/>
                      <a:pt x="569" y="564"/>
                    </a:cubicBezTo>
                    <a:cubicBezTo>
                      <a:pt x="554" y="564"/>
                      <a:pt x="540" y="566"/>
                      <a:pt x="526" y="559"/>
                    </a:cubicBezTo>
                    <a:cubicBezTo>
                      <a:pt x="518" y="555"/>
                      <a:pt x="507" y="555"/>
                      <a:pt x="496" y="557"/>
                    </a:cubicBezTo>
                    <a:cubicBezTo>
                      <a:pt x="473" y="561"/>
                      <a:pt x="454" y="576"/>
                      <a:pt x="429" y="577"/>
                    </a:cubicBezTo>
                    <a:cubicBezTo>
                      <a:pt x="431" y="582"/>
                      <a:pt x="437" y="583"/>
                      <a:pt x="436" y="590"/>
                    </a:cubicBezTo>
                    <a:cubicBezTo>
                      <a:pt x="435" y="600"/>
                      <a:pt x="435" y="610"/>
                      <a:pt x="448" y="615"/>
                    </a:cubicBezTo>
                    <a:cubicBezTo>
                      <a:pt x="457" y="619"/>
                      <a:pt x="464" y="629"/>
                      <a:pt x="476" y="618"/>
                    </a:cubicBezTo>
                    <a:cubicBezTo>
                      <a:pt x="478" y="616"/>
                      <a:pt x="484" y="617"/>
                      <a:pt x="487" y="620"/>
                    </a:cubicBezTo>
                    <a:cubicBezTo>
                      <a:pt x="494" y="626"/>
                      <a:pt x="500" y="625"/>
                      <a:pt x="508" y="620"/>
                    </a:cubicBezTo>
                    <a:cubicBezTo>
                      <a:pt x="519" y="613"/>
                      <a:pt x="526" y="618"/>
                      <a:pt x="526" y="630"/>
                    </a:cubicBezTo>
                    <a:cubicBezTo>
                      <a:pt x="526" y="648"/>
                      <a:pt x="515" y="662"/>
                      <a:pt x="507" y="676"/>
                    </a:cubicBezTo>
                    <a:cubicBezTo>
                      <a:pt x="504" y="683"/>
                      <a:pt x="490" y="677"/>
                      <a:pt x="481" y="678"/>
                    </a:cubicBezTo>
                    <a:cubicBezTo>
                      <a:pt x="477" y="678"/>
                      <a:pt x="472" y="677"/>
                      <a:pt x="468" y="678"/>
                    </a:cubicBezTo>
                    <a:cubicBezTo>
                      <a:pt x="443" y="684"/>
                      <a:pt x="421" y="672"/>
                      <a:pt x="398" y="664"/>
                    </a:cubicBezTo>
                    <a:cubicBezTo>
                      <a:pt x="381" y="658"/>
                      <a:pt x="373" y="660"/>
                      <a:pt x="370" y="678"/>
                    </a:cubicBezTo>
                    <a:cubicBezTo>
                      <a:pt x="369" y="686"/>
                      <a:pt x="368" y="690"/>
                      <a:pt x="357" y="686"/>
                    </a:cubicBezTo>
                    <a:cubicBezTo>
                      <a:pt x="341" y="679"/>
                      <a:pt x="327" y="672"/>
                      <a:pt x="312" y="664"/>
                    </a:cubicBezTo>
                    <a:cubicBezTo>
                      <a:pt x="303" y="658"/>
                      <a:pt x="291" y="661"/>
                      <a:pt x="281" y="654"/>
                    </a:cubicBezTo>
                    <a:cubicBezTo>
                      <a:pt x="274" y="649"/>
                      <a:pt x="271" y="647"/>
                      <a:pt x="280" y="642"/>
                    </a:cubicBezTo>
                    <a:cubicBezTo>
                      <a:pt x="292" y="636"/>
                      <a:pt x="274" y="626"/>
                      <a:pt x="283" y="620"/>
                    </a:cubicBezTo>
                    <a:cubicBezTo>
                      <a:pt x="280" y="617"/>
                      <a:pt x="278" y="611"/>
                      <a:pt x="273" y="612"/>
                    </a:cubicBezTo>
                    <a:cubicBezTo>
                      <a:pt x="262" y="614"/>
                      <a:pt x="249" y="609"/>
                      <a:pt x="240" y="613"/>
                    </a:cubicBezTo>
                    <a:cubicBezTo>
                      <a:pt x="226" y="620"/>
                      <a:pt x="212" y="617"/>
                      <a:pt x="198" y="618"/>
                    </a:cubicBezTo>
                    <a:cubicBezTo>
                      <a:pt x="190" y="618"/>
                      <a:pt x="183" y="620"/>
                      <a:pt x="177" y="624"/>
                    </a:cubicBezTo>
                    <a:cubicBezTo>
                      <a:pt x="159" y="634"/>
                      <a:pt x="142" y="644"/>
                      <a:pt x="121" y="630"/>
                    </a:cubicBezTo>
                    <a:cubicBezTo>
                      <a:pt x="115" y="626"/>
                      <a:pt x="113" y="631"/>
                      <a:pt x="111" y="635"/>
                    </a:cubicBezTo>
                    <a:cubicBezTo>
                      <a:pt x="107" y="642"/>
                      <a:pt x="106" y="652"/>
                      <a:pt x="97" y="654"/>
                    </a:cubicBezTo>
                    <a:cubicBezTo>
                      <a:pt x="80" y="657"/>
                      <a:pt x="76" y="670"/>
                      <a:pt x="76" y="684"/>
                    </a:cubicBezTo>
                    <a:cubicBezTo>
                      <a:pt x="76" y="691"/>
                      <a:pt x="73" y="696"/>
                      <a:pt x="69" y="700"/>
                    </a:cubicBezTo>
                    <a:cubicBezTo>
                      <a:pt x="62" y="710"/>
                      <a:pt x="48" y="713"/>
                      <a:pt x="40" y="722"/>
                    </a:cubicBezTo>
                    <a:cubicBezTo>
                      <a:pt x="28" y="735"/>
                      <a:pt x="21" y="751"/>
                      <a:pt x="13" y="767"/>
                    </a:cubicBezTo>
                    <a:cubicBezTo>
                      <a:pt x="6" y="778"/>
                      <a:pt x="0" y="787"/>
                      <a:pt x="9" y="802"/>
                    </a:cubicBezTo>
                    <a:cubicBezTo>
                      <a:pt x="13" y="808"/>
                      <a:pt x="14" y="821"/>
                      <a:pt x="9" y="833"/>
                    </a:cubicBezTo>
                    <a:cubicBezTo>
                      <a:pt x="1" y="852"/>
                      <a:pt x="1" y="872"/>
                      <a:pt x="18" y="888"/>
                    </a:cubicBezTo>
                    <a:cubicBezTo>
                      <a:pt x="31" y="900"/>
                      <a:pt x="36" y="919"/>
                      <a:pt x="49" y="929"/>
                    </a:cubicBezTo>
                    <a:cubicBezTo>
                      <a:pt x="70" y="944"/>
                      <a:pt x="89" y="964"/>
                      <a:pt x="123" y="956"/>
                    </a:cubicBezTo>
                    <a:cubicBezTo>
                      <a:pt x="147" y="950"/>
                      <a:pt x="173" y="950"/>
                      <a:pt x="197" y="939"/>
                    </a:cubicBezTo>
                    <a:cubicBezTo>
                      <a:pt x="207" y="935"/>
                      <a:pt x="221" y="939"/>
                      <a:pt x="226" y="947"/>
                    </a:cubicBezTo>
                    <a:cubicBezTo>
                      <a:pt x="234" y="962"/>
                      <a:pt x="243" y="964"/>
                      <a:pt x="255" y="956"/>
                    </a:cubicBezTo>
                    <a:cubicBezTo>
                      <a:pt x="258" y="955"/>
                      <a:pt x="259" y="956"/>
                      <a:pt x="260" y="957"/>
                    </a:cubicBezTo>
                    <a:cubicBezTo>
                      <a:pt x="272" y="965"/>
                      <a:pt x="278" y="974"/>
                      <a:pt x="271" y="989"/>
                    </a:cubicBezTo>
                    <a:cubicBezTo>
                      <a:pt x="261" y="1008"/>
                      <a:pt x="263" y="1026"/>
                      <a:pt x="280" y="1039"/>
                    </a:cubicBezTo>
                    <a:cubicBezTo>
                      <a:pt x="297" y="1053"/>
                      <a:pt x="300" y="1074"/>
                      <a:pt x="306" y="1093"/>
                    </a:cubicBezTo>
                    <a:cubicBezTo>
                      <a:pt x="308" y="1103"/>
                      <a:pt x="314" y="1115"/>
                      <a:pt x="309" y="1124"/>
                    </a:cubicBezTo>
                    <a:cubicBezTo>
                      <a:pt x="304" y="1135"/>
                      <a:pt x="301" y="1146"/>
                      <a:pt x="296" y="1156"/>
                    </a:cubicBezTo>
                    <a:cubicBezTo>
                      <a:pt x="289" y="1173"/>
                      <a:pt x="293" y="1185"/>
                      <a:pt x="300" y="1200"/>
                    </a:cubicBezTo>
                    <a:cubicBezTo>
                      <a:pt x="306" y="1216"/>
                      <a:pt x="316" y="1230"/>
                      <a:pt x="317" y="1250"/>
                    </a:cubicBezTo>
                    <a:cubicBezTo>
                      <a:pt x="317" y="1265"/>
                      <a:pt x="320" y="1282"/>
                      <a:pt x="329" y="1296"/>
                    </a:cubicBezTo>
                    <a:cubicBezTo>
                      <a:pt x="340" y="1312"/>
                      <a:pt x="350" y="1329"/>
                      <a:pt x="349" y="1350"/>
                    </a:cubicBezTo>
                    <a:cubicBezTo>
                      <a:pt x="349" y="1360"/>
                      <a:pt x="364" y="1371"/>
                      <a:pt x="368" y="1367"/>
                    </a:cubicBezTo>
                    <a:cubicBezTo>
                      <a:pt x="377" y="1359"/>
                      <a:pt x="388" y="1359"/>
                      <a:pt x="397" y="1359"/>
                    </a:cubicBezTo>
                    <a:cubicBezTo>
                      <a:pt x="425" y="1359"/>
                      <a:pt x="448" y="1349"/>
                      <a:pt x="463" y="1326"/>
                    </a:cubicBezTo>
                    <a:cubicBezTo>
                      <a:pt x="473" y="1310"/>
                      <a:pt x="493" y="1299"/>
                      <a:pt x="491" y="1278"/>
                    </a:cubicBezTo>
                    <a:cubicBezTo>
                      <a:pt x="490" y="1267"/>
                      <a:pt x="494" y="1262"/>
                      <a:pt x="501" y="1260"/>
                    </a:cubicBezTo>
                    <a:cubicBezTo>
                      <a:pt x="519" y="1256"/>
                      <a:pt x="518" y="1244"/>
                      <a:pt x="517" y="1231"/>
                    </a:cubicBezTo>
                    <a:cubicBezTo>
                      <a:pt x="516" y="1225"/>
                      <a:pt x="515" y="1220"/>
                      <a:pt x="513" y="1215"/>
                    </a:cubicBezTo>
                    <a:cubicBezTo>
                      <a:pt x="509" y="1209"/>
                      <a:pt x="512" y="1203"/>
                      <a:pt x="516" y="1201"/>
                    </a:cubicBezTo>
                    <a:cubicBezTo>
                      <a:pt x="528" y="1193"/>
                      <a:pt x="537" y="1180"/>
                      <a:pt x="552" y="1175"/>
                    </a:cubicBezTo>
                    <a:cubicBezTo>
                      <a:pt x="563" y="1172"/>
                      <a:pt x="569" y="1163"/>
                      <a:pt x="570" y="1149"/>
                    </a:cubicBezTo>
                    <a:cubicBezTo>
                      <a:pt x="572" y="1122"/>
                      <a:pt x="557" y="1097"/>
                      <a:pt x="555" y="1071"/>
                    </a:cubicBezTo>
                    <a:cubicBezTo>
                      <a:pt x="554" y="1054"/>
                      <a:pt x="558" y="1039"/>
                      <a:pt x="569" y="1029"/>
                    </a:cubicBezTo>
                    <a:cubicBezTo>
                      <a:pt x="587" y="1012"/>
                      <a:pt x="602" y="992"/>
                      <a:pt x="623" y="979"/>
                    </a:cubicBezTo>
                    <a:cubicBezTo>
                      <a:pt x="646" y="964"/>
                      <a:pt x="655" y="939"/>
                      <a:pt x="668" y="918"/>
                    </a:cubicBezTo>
                    <a:cubicBezTo>
                      <a:pt x="673" y="908"/>
                      <a:pt x="680" y="896"/>
                      <a:pt x="674" y="882"/>
                    </a:cubicBezTo>
                    <a:cubicBezTo>
                      <a:pt x="667" y="887"/>
                      <a:pt x="659" y="888"/>
                      <a:pt x="650" y="889"/>
                    </a:cubicBezTo>
                    <a:cubicBezTo>
                      <a:pt x="640" y="889"/>
                      <a:pt x="629" y="892"/>
                      <a:pt x="619" y="896"/>
                    </a:cubicBezTo>
                    <a:cubicBezTo>
                      <a:pt x="614" y="898"/>
                      <a:pt x="606" y="903"/>
                      <a:pt x="605" y="898"/>
                    </a:cubicBezTo>
                    <a:cubicBezTo>
                      <a:pt x="604" y="891"/>
                      <a:pt x="587" y="891"/>
                      <a:pt x="598" y="880"/>
                    </a:cubicBezTo>
                    <a:cubicBezTo>
                      <a:pt x="599" y="878"/>
                      <a:pt x="596" y="876"/>
                      <a:pt x="595" y="874"/>
                    </a:cubicBezTo>
                    <a:cubicBezTo>
                      <a:pt x="586" y="865"/>
                      <a:pt x="581" y="854"/>
                      <a:pt x="567" y="851"/>
                    </a:cubicBezTo>
                    <a:cubicBezTo>
                      <a:pt x="561" y="850"/>
                      <a:pt x="558" y="842"/>
                      <a:pt x="556" y="836"/>
                    </a:cubicBezTo>
                    <a:cubicBezTo>
                      <a:pt x="549" y="817"/>
                      <a:pt x="535" y="801"/>
                      <a:pt x="533" y="779"/>
                    </a:cubicBezTo>
                    <a:cubicBezTo>
                      <a:pt x="533" y="779"/>
                      <a:pt x="533" y="779"/>
                      <a:pt x="532" y="778"/>
                    </a:cubicBezTo>
                    <a:cubicBezTo>
                      <a:pt x="520" y="764"/>
                      <a:pt x="515" y="746"/>
                      <a:pt x="507" y="730"/>
                    </a:cubicBezTo>
                    <a:cubicBezTo>
                      <a:pt x="500" y="718"/>
                      <a:pt x="501" y="717"/>
                      <a:pt x="512" y="711"/>
                    </a:cubicBezTo>
                    <a:cubicBezTo>
                      <a:pt x="527" y="729"/>
                      <a:pt x="538" y="749"/>
                      <a:pt x="552" y="767"/>
                    </a:cubicBezTo>
                    <a:cubicBezTo>
                      <a:pt x="559" y="776"/>
                      <a:pt x="554" y="788"/>
                      <a:pt x="562" y="795"/>
                    </a:cubicBezTo>
                    <a:cubicBezTo>
                      <a:pt x="584" y="814"/>
                      <a:pt x="592" y="840"/>
                      <a:pt x="598" y="867"/>
                    </a:cubicBezTo>
                    <a:cubicBezTo>
                      <a:pt x="600" y="877"/>
                      <a:pt x="605" y="877"/>
                      <a:pt x="612" y="874"/>
                    </a:cubicBezTo>
                    <a:cubicBezTo>
                      <a:pt x="640" y="863"/>
                      <a:pt x="672" y="857"/>
                      <a:pt x="696" y="836"/>
                    </a:cubicBezTo>
                    <a:cubicBezTo>
                      <a:pt x="699" y="834"/>
                      <a:pt x="702" y="834"/>
                      <a:pt x="705" y="834"/>
                    </a:cubicBezTo>
                    <a:cubicBezTo>
                      <a:pt x="720" y="832"/>
                      <a:pt x="733" y="822"/>
                      <a:pt x="739" y="812"/>
                    </a:cubicBezTo>
                    <a:cubicBezTo>
                      <a:pt x="744" y="803"/>
                      <a:pt x="752" y="797"/>
                      <a:pt x="757" y="789"/>
                    </a:cubicBezTo>
                    <a:cubicBezTo>
                      <a:pt x="765" y="777"/>
                      <a:pt x="765" y="767"/>
                      <a:pt x="754" y="764"/>
                    </a:cubicBezTo>
                    <a:cubicBezTo>
                      <a:pt x="738" y="760"/>
                      <a:pt x="732" y="750"/>
                      <a:pt x="728" y="732"/>
                    </a:cubicBezTo>
                    <a:cubicBezTo>
                      <a:pt x="722" y="739"/>
                      <a:pt x="718" y="743"/>
                      <a:pt x="716" y="748"/>
                    </a:cubicBezTo>
                    <a:cubicBezTo>
                      <a:pt x="709" y="762"/>
                      <a:pt x="695" y="755"/>
                      <a:pt x="684" y="757"/>
                    </a:cubicBezTo>
                    <a:cubicBezTo>
                      <a:pt x="679" y="759"/>
                      <a:pt x="684" y="745"/>
                      <a:pt x="681" y="739"/>
                    </a:cubicBezTo>
                    <a:cubicBezTo>
                      <a:pt x="681" y="739"/>
                      <a:pt x="681" y="739"/>
                      <a:pt x="680" y="738"/>
                    </a:cubicBezTo>
                    <a:cubicBezTo>
                      <a:pt x="675" y="733"/>
                      <a:pt x="672" y="750"/>
                      <a:pt x="669" y="741"/>
                    </a:cubicBezTo>
                    <a:cubicBezTo>
                      <a:pt x="665" y="727"/>
                      <a:pt x="653" y="718"/>
                      <a:pt x="649" y="705"/>
                    </a:cubicBezTo>
                    <a:cubicBezTo>
                      <a:pt x="648" y="701"/>
                      <a:pt x="645" y="698"/>
                      <a:pt x="651" y="695"/>
                    </a:cubicBezTo>
                    <a:cubicBezTo>
                      <a:pt x="657" y="692"/>
                      <a:pt x="662" y="688"/>
                      <a:pt x="667" y="694"/>
                    </a:cubicBezTo>
                    <a:cubicBezTo>
                      <a:pt x="670" y="697"/>
                      <a:pt x="674" y="701"/>
                      <a:pt x="676" y="707"/>
                    </a:cubicBezTo>
                    <a:cubicBezTo>
                      <a:pt x="681" y="721"/>
                      <a:pt x="709" y="733"/>
                      <a:pt x="724" y="727"/>
                    </a:cubicBezTo>
                    <a:cubicBezTo>
                      <a:pt x="731" y="725"/>
                      <a:pt x="735" y="725"/>
                      <a:pt x="738" y="733"/>
                    </a:cubicBezTo>
                    <a:cubicBezTo>
                      <a:pt x="740" y="738"/>
                      <a:pt x="743" y="744"/>
                      <a:pt x="750" y="744"/>
                    </a:cubicBezTo>
                    <a:cubicBezTo>
                      <a:pt x="766" y="743"/>
                      <a:pt x="782" y="747"/>
                      <a:pt x="798" y="745"/>
                    </a:cubicBezTo>
                    <a:cubicBezTo>
                      <a:pt x="808" y="743"/>
                      <a:pt x="821" y="740"/>
                      <a:pt x="829" y="745"/>
                    </a:cubicBezTo>
                    <a:cubicBezTo>
                      <a:pt x="842" y="752"/>
                      <a:pt x="851" y="765"/>
                      <a:pt x="862" y="775"/>
                    </a:cubicBezTo>
                    <a:cubicBezTo>
                      <a:pt x="862" y="775"/>
                      <a:pt x="862" y="776"/>
                      <a:pt x="862" y="776"/>
                    </a:cubicBezTo>
                    <a:cubicBezTo>
                      <a:pt x="863" y="791"/>
                      <a:pt x="876" y="798"/>
                      <a:pt x="888" y="791"/>
                    </a:cubicBezTo>
                    <a:cubicBezTo>
                      <a:pt x="890" y="789"/>
                      <a:pt x="890" y="784"/>
                      <a:pt x="894" y="787"/>
                    </a:cubicBezTo>
                    <a:cubicBezTo>
                      <a:pt x="898" y="789"/>
                      <a:pt x="899" y="793"/>
                      <a:pt x="897" y="796"/>
                    </a:cubicBezTo>
                    <a:cubicBezTo>
                      <a:pt x="896" y="799"/>
                      <a:pt x="895" y="802"/>
                      <a:pt x="895" y="805"/>
                    </a:cubicBezTo>
                    <a:cubicBezTo>
                      <a:pt x="903" y="845"/>
                      <a:pt x="919" y="883"/>
                      <a:pt x="936" y="920"/>
                    </a:cubicBezTo>
                    <a:cubicBezTo>
                      <a:pt x="938" y="924"/>
                      <a:pt x="941" y="927"/>
                      <a:pt x="945" y="923"/>
                    </a:cubicBezTo>
                    <a:cubicBezTo>
                      <a:pt x="961" y="909"/>
                      <a:pt x="970" y="890"/>
                      <a:pt x="969" y="869"/>
                    </a:cubicBezTo>
                    <a:cubicBezTo>
                      <a:pt x="969" y="856"/>
                      <a:pt x="972" y="847"/>
                      <a:pt x="983" y="840"/>
                    </a:cubicBezTo>
                    <a:cubicBezTo>
                      <a:pt x="989" y="835"/>
                      <a:pt x="994" y="828"/>
                      <a:pt x="1000" y="824"/>
                    </a:cubicBezTo>
                    <a:cubicBezTo>
                      <a:pt x="1021" y="812"/>
                      <a:pt x="1032" y="786"/>
                      <a:pt x="1059" y="780"/>
                    </a:cubicBezTo>
                    <a:cubicBezTo>
                      <a:pt x="1073" y="776"/>
                      <a:pt x="1079" y="775"/>
                      <a:pt x="1082" y="791"/>
                    </a:cubicBezTo>
                    <a:cubicBezTo>
                      <a:pt x="1082" y="795"/>
                      <a:pt x="1086" y="799"/>
                      <a:pt x="1089" y="801"/>
                    </a:cubicBezTo>
                    <a:cubicBezTo>
                      <a:pt x="1100" y="809"/>
                      <a:pt x="1103" y="820"/>
                      <a:pt x="1102" y="832"/>
                    </a:cubicBezTo>
                    <a:cubicBezTo>
                      <a:pt x="1102" y="836"/>
                      <a:pt x="1099" y="839"/>
                      <a:pt x="1105" y="842"/>
                    </a:cubicBezTo>
                    <a:cubicBezTo>
                      <a:pt x="1110" y="844"/>
                      <a:pt x="1113" y="843"/>
                      <a:pt x="1116" y="839"/>
                    </a:cubicBezTo>
                    <a:cubicBezTo>
                      <a:pt x="1119" y="836"/>
                      <a:pt x="1122" y="832"/>
                      <a:pt x="1126" y="835"/>
                    </a:cubicBezTo>
                    <a:cubicBezTo>
                      <a:pt x="1130" y="837"/>
                      <a:pt x="1132" y="841"/>
                      <a:pt x="1132" y="846"/>
                    </a:cubicBezTo>
                    <a:cubicBezTo>
                      <a:pt x="1132" y="852"/>
                      <a:pt x="1131" y="859"/>
                      <a:pt x="1135" y="865"/>
                    </a:cubicBezTo>
                    <a:cubicBezTo>
                      <a:pt x="1141" y="877"/>
                      <a:pt x="1142" y="889"/>
                      <a:pt x="1139" y="902"/>
                    </a:cubicBezTo>
                    <a:cubicBezTo>
                      <a:pt x="1137" y="913"/>
                      <a:pt x="1136" y="923"/>
                      <a:pt x="1148" y="930"/>
                    </a:cubicBezTo>
                    <a:cubicBezTo>
                      <a:pt x="1153" y="934"/>
                      <a:pt x="1155" y="940"/>
                      <a:pt x="1157" y="947"/>
                    </a:cubicBezTo>
                    <a:cubicBezTo>
                      <a:pt x="1160" y="962"/>
                      <a:pt x="1164" y="978"/>
                      <a:pt x="1181" y="985"/>
                    </a:cubicBezTo>
                    <a:cubicBezTo>
                      <a:pt x="1185" y="987"/>
                      <a:pt x="1189" y="993"/>
                      <a:pt x="1194" y="989"/>
                    </a:cubicBezTo>
                    <a:cubicBezTo>
                      <a:pt x="1198" y="984"/>
                      <a:pt x="1192" y="981"/>
                      <a:pt x="1190" y="977"/>
                    </a:cubicBezTo>
                    <a:cubicBezTo>
                      <a:pt x="1189" y="976"/>
                      <a:pt x="1189" y="973"/>
                      <a:pt x="1189" y="971"/>
                    </a:cubicBezTo>
                    <a:cubicBezTo>
                      <a:pt x="1192" y="953"/>
                      <a:pt x="1179" y="945"/>
                      <a:pt x="1166" y="936"/>
                    </a:cubicBezTo>
                    <a:cubicBezTo>
                      <a:pt x="1156" y="928"/>
                      <a:pt x="1149" y="915"/>
                      <a:pt x="1148" y="903"/>
                    </a:cubicBezTo>
                    <a:cubicBezTo>
                      <a:pt x="1147" y="892"/>
                      <a:pt x="1154" y="881"/>
                      <a:pt x="1158" y="869"/>
                    </a:cubicBezTo>
                    <a:cubicBezTo>
                      <a:pt x="1177" y="881"/>
                      <a:pt x="1195" y="893"/>
                      <a:pt x="1203" y="914"/>
                    </a:cubicBezTo>
                    <a:cubicBezTo>
                      <a:pt x="1205" y="918"/>
                      <a:pt x="1209" y="916"/>
                      <a:pt x="1210" y="913"/>
                    </a:cubicBezTo>
                    <a:cubicBezTo>
                      <a:pt x="1218" y="904"/>
                      <a:pt x="1229" y="900"/>
                      <a:pt x="1239" y="894"/>
                    </a:cubicBezTo>
                    <a:cubicBezTo>
                      <a:pt x="1242" y="893"/>
                      <a:pt x="1245" y="892"/>
                      <a:pt x="1246" y="889"/>
                    </a:cubicBezTo>
                    <a:cubicBezTo>
                      <a:pt x="1251" y="873"/>
                      <a:pt x="1244" y="850"/>
                      <a:pt x="1230" y="838"/>
                    </a:cubicBezTo>
                    <a:cubicBezTo>
                      <a:pt x="1208" y="820"/>
                      <a:pt x="1209" y="803"/>
                      <a:pt x="1231" y="789"/>
                    </a:cubicBezTo>
                    <a:cubicBezTo>
                      <a:pt x="1238" y="784"/>
                      <a:pt x="1250" y="784"/>
                      <a:pt x="1251" y="788"/>
                    </a:cubicBezTo>
                    <a:cubicBezTo>
                      <a:pt x="1254" y="802"/>
                      <a:pt x="1259" y="791"/>
                      <a:pt x="1263" y="790"/>
                    </a:cubicBezTo>
                    <a:cubicBezTo>
                      <a:pt x="1277" y="784"/>
                      <a:pt x="1289" y="775"/>
                      <a:pt x="1306" y="773"/>
                    </a:cubicBezTo>
                    <a:cubicBezTo>
                      <a:pt x="1326" y="772"/>
                      <a:pt x="1340" y="756"/>
                      <a:pt x="1350" y="741"/>
                    </a:cubicBezTo>
                    <a:cubicBezTo>
                      <a:pt x="1356" y="732"/>
                      <a:pt x="1361" y="722"/>
                      <a:pt x="1368" y="714"/>
                    </a:cubicBezTo>
                    <a:cubicBezTo>
                      <a:pt x="1374" y="709"/>
                      <a:pt x="1373" y="702"/>
                      <a:pt x="1373" y="696"/>
                    </a:cubicBezTo>
                    <a:cubicBezTo>
                      <a:pt x="1373" y="693"/>
                      <a:pt x="1367" y="694"/>
                      <a:pt x="1369" y="690"/>
                    </a:cubicBezTo>
                    <a:cubicBezTo>
                      <a:pt x="1374" y="682"/>
                      <a:pt x="1370" y="674"/>
                      <a:pt x="1368" y="667"/>
                    </a:cubicBezTo>
                    <a:cubicBezTo>
                      <a:pt x="1365" y="659"/>
                      <a:pt x="1360" y="649"/>
                      <a:pt x="1352" y="643"/>
                    </a:cubicBezTo>
                    <a:cubicBezTo>
                      <a:pt x="1346" y="639"/>
                      <a:pt x="1349" y="638"/>
                      <a:pt x="1352" y="634"/>
                    </a:cubicBezTo>
                    <a:cubicBezTo>
                      <a:pt x="1360" y="625"/>
                      <a:pt x="1370" y="619"/>
                      <a:pt x="1381" y="614"/>
                    </a:cubicBezTo>
                    <a:cubicBezTo>
                      <a:pt x="1372" y="617"/>
                      <a:pt x="1367" y="602"/>
                      <a:pt x="1358" y="610"/>
                    </a:cubicBezTo>
                    <a:cubicBezTo>
                      <a:pt x="1352" y="615"/>
                      <a:pt x="1348" y="616"/>
                      <a:pt x="1345" y="607"/>
                    </a:cubicBezTo>
                    <a:cubicBezTo>
                      <a:pt x="1343" y="601"/>
                      <a:pt x="1333" y="605"/>
                      <a:pt x="1331" y="598"/>
                    </a:cubicBezTo>
                    <a:cubicBezTo>
                      <a:pt x="1330" y="596"/>
                      <a:pt x="1331" y="595"/>
                      <a:pt x="1333" y="594"/>
                    </a:cubicBezTo>
                    <a:cubicBezTo>
                      <a:pt x="1348" y="592"/>
                      <a:pt x="1357" y="580"/>
                      <a:pt x="1369" y="573"/>
                    </a:cubicBezTo>
                    <a:cubicBezTo>
                      <a:pt x="1372" y="570"/>
                      <a:pt x="1374" y="570"/>
                      <a:pt x="1376" y="573"/>
                    </a:cubicBezTo>
                    <a:cubicBezTo>
                      <a:pt x="1378" y="575"/>
                      <a:pt x="1378" y="577"/>
                      <a:pt x="1376" y="579"/>
                    </a:cubicBezTo>
                    <a:cubicBezTo>
                      <a:pt x="1372" y="583"/>
                      <a:pt x="1364" y="587"/>
                      <a:pt x="1371" y="593"/>
                    </a:cubicBezTo>
                    <a:cubicBezTo>
                      <a:pt x="1377" y="598"/>
                      <a:pt x="1381" y="589"/>
                      <a:pt x="1386" y="587"/>
                    </a:cubicBezTo>
                    <a:cubicBezTo>
                      <a:pt x="1388" y="587"/>
                      <a:pt x="1391" y="585"/>
                      <a:pt x="1392" y="584"/>
                    </a:cubicBezTo>
                    <a:cubicBezTo>
                      <a:pt x="1397" y="581"/>
                      <a:pt x="1400" y="582"/>
                      <a:pt x="1404" y="586"/>
                    </a:cubicBezTo>
                    <a:cubicBezTo>
                      <a:pt x="1408" y="589"/>
                      <a:pt x="1409" y="592"/>
                      <a:pt x="1406" y="597"/>
                    </a:cubicBezTo>
                    <a:cubicBezTo>
                      <a:pt x="1400" y="605"/>
                      <a:pt x="1404" y="607"/>
                      <a:pt x="1413" y="607"/>
                    </a:cubicBezTo>
                    <a:cubicBezTo>
                      <a:pt x="1420" y="606"/>
                      <a:pt x="1426" y="613"/>
                      <a:pt x="1424" y="618"/>
                    </a:cubicBezTo>
                    <a:cubicBezTo>
                      <a:pt x="1420" y="625"/>
                      <a:pt x="1420" y="633"/>
                      <a:pt x="1420" y="642"/>
                    </a:cubicBezTo>
                    <a:cubicBezTo>
                      <a:pt x="1420" y="644"/>
                      <a:pt x="1421" y="647"/>
                      <a:pt x="1425" y="647"/>
                    </a:cubicBezTo>
                    <a:cubicBezTo>
                      <a:pt x="1450" y="642"/>
                      <a:pt x="1458" y="621"/>
                      <a:pt x="1443" y="601"/>
                    </a:cubicBezTo>
                    <a:cubicBezTo>
                      <a:pt x="1440" y="598"/>
                      <a:pt x="1437" y="595"/>
                      <a:pt x="1435" y="592"/>
                    </a:cubicBezTo>
                    <a:cubicBezTo>
                      <a:pt x="1431" y="588"/>
                      <a:pt x="1429" y="585"/>
                      <a:pt x="1437" y="582"/>
                    </a:cubicBezTo>
                    <a:cubicBezTo>
                      <a:pt x="1446" y="578"/>
                      <a:pt x="1452" y="571"/>
                      <a:pt x="1456" y="561"/>
                    </a:cubicBezTo>
                    <a:cubicBezTo>
                      <a:pt x="1460" y="550"/>
                      <a:pt x="1470" y="543"/>
                      <a:pt x="1483" y="546"/>
                    </a:cubicBezTo>
                    <a:cubicBezTo>
                      <a:pt x="1490" y="548"/>
                      <a:pt x="1495" y="546"/>
                      <a:pt x="1501" y="543"/>
                    </a:cubicBezTo>
                    <a:cubicBezTo>
                      <a:pt x="1524" y="528"/>
                      <a:pt x="1536" y="504"/>
                      <a:pt x="1552" y="483"/>
                    </a:cubicBezTo>
                    <a:cubicBezTo>
                      <a:pt x="1565" y="466"/>
                      <a:pt x="1563" y="444"/>
                      <a:pt x="1569" y="425"/>
                    </a:cubicBezTo>
                    <a:cubicBezTo>
                      <a:pt x="1574" y="410"/>
                      <a:pt x="1557" y="396"/>
                      <a:pt x="1545" y="404"/>
                    </a:cubicBezTo>
                    <a:cubicBezTo>
                      <a:pt x="1536" y="410"/>
                      <a:pt x="1530" y="405"/>
                      <a:pt x="1527" y="402"/>
                    </a:cubicBezTo>
                    <a:cubicBezTo>
                      <a:pt x="1522" y="397"/>
                      <a:pt x="1515" y="397"/>
                      <a:pt x="1510" y="392"/>
                    </a:cubicBezTo>
                    <a:cubicBezTo>
                      <a:pt x="1533" y="373"/>
                      <a:pt x="1556" y="353"/>
                      <a:pt x="1579" y="334"/>
                    </a:cubicBezTo>
                    <a:cubicBezTo>
                      <a:pt x="1587" y="328"/>
                      <a:pt x="1597" y="320"/>
                      <a:pt x="1607" y="325"/>
                    </a:cubicBezTo>
                    <a:cubicBezTo>
                      <a:pt x="1622" y="332"/>
                      <a:pt x="1634" y="330"/>
                      <a:pt x="1649" y="326"/>
                    </a:cubicBezTo>
                    <a:cubicBezTo>
                      <a:pt x="1658" y="323"/>
                      <a:pt x="1669" y="317"/>
                      <a:pt x="1677" y="332"/>
                    </a:cubicBezTo>
                    <a:cubicBezTo>
                      <a:pt x="1683" y="343"/>
                      <a:pt x="1692" y="326"/>
                      <a:pt x="1700" y="330"/>
                    </a:cubicBezTo>
                    <a:cubicBezTo>
                      <a:pt x="1702" y="331"/>
                      <a:pt x="1703" y="329"/>
                      <a:pt x="1703" y="326"/>
                    </a:cubicBezTo>
                    <a:cubicBezTo>
                      <a:pt x="1705" y="310"/>
                      <a:pt x="1736" y="287"/>
                      <a:pt x="1752" y="289"/>
                    </a:cubicBezTo>
                    <a:cubicBezTo>
                      <a:pt x="1751" y="294"/>
                      <a:pt x="1769" y="283"/>
                      <a:pt x="1758" y="296"/>
                    </a:cubicBezTo>
                    <a:cubicBezTo>
                      <a:pt x="1756" y="300"/>
                      <a:pt x="1760" y="301"/>
                      <a:pt x="1762" y="304"/>
                    </a:cubicBezTo>
                    <a:cubicBezTo>
                      <a:pt x="1764" y="307"/>
                      <a:pt x="1767" y="306"/>
                      <a:pt x="1769" y="304"/>
                    </a:cubicBezTo>
                    <a:cubicBezTo>
                      <a:pt x="1776" y="295"/>
                      <a:pt x="1790" y="296"/>
                      <a:pt x="1793" y="282"/>
                    </a:cubicBezTo>
                    <a:cubicBezTo>
                      <a:pt x="1795" y="274"/>
                      <a:pt x="1803" y="273"/>
                      <a:pt x="1809" y="280"/>
                    </a:cubicBezTo>
                    <a:cubicBezTo>
                      <a:pt x="1807" y="284"/>
                      <a:pt x="1801" y="280"/>
                      <a:pt x="1801" y="284"/>
                    </a:cubicBezTo>
                    <a:cubicBezTo>
                      <a:pt x="1800" y="299"/>
                      <a:pt x="1790" y="304"/>
                      <a:pt x="1780" y="311"/>
                    </a:cubicBezTo>
                    <a:cubicBezTo>
                      <a:pt x="1762" y="323"/>
                      <a:pt x="1752" y="344"/>
                      <a:pt x="1730" y="350"/>
                    </a:cubicBezTo>
                    <a:cubicBezTo>
                      <a:pt x="1729" y="350"/>
                      <a:pt x="1727" y="351"/>
                      <a:pt x="1727" y="353"/>
                    </a:cubicBezTo>
                    <a:cubicBezTo>
                      <a:pt x="1720" y="370"/>
                      <a:pt x="1709" y="386"/>
                      <a:pt x="1716" y="406"/>
                    </a:cubicBezTo>
                    <a:cubicBezTo>
                      <a:pt x="1718" y="414"/>
                      <a:pt x="1721" y="423"/>
                      <a:pt x="1723" y="431"/>
                    </a:cubicBezTo>
                    <a:cubicBezTo>
                      <a:pt x="1724" y="436"/>
                      <a:pt x="1723" y="443"/>
                      <a:pt x="1727" y="443"/>
                    </a:cubicBezTo>
                    <a:cubicBezTo>
                      <a:pt x="1732" y="443"/>
                      <a:pt x="1738" y="439"/>
                      <a:pt x="1739" y="433"/>
                    </a:cubicBezTo>
                    <a:cubicBezTo>
                      <a:pt x="1742" y="421"/>
                      <a:pt x="1752" y="413"/>
                      <a:pt x="1759" y="404"/>
                    </a:cubicBezTo>
                    <a:cubicBezTo>
                      <a:pt x="1767" y="395"/>
                      <a:pt x="1780" y="389"/>
                      <a:pt x="1783" y="375"/>
                    </a:cubicBezTo>
                    <a:cubicBezTo>
                      <a:pt x="1783" y="371"/>
                      <a:pt x="1789" y="373"/>
                      <a:pt x="1791" y="370"/>
                    </a:cubicBezTo>
                    <a:cubicBezTo>
                      <a:pt x="1780" y="366"/>
                      <a:pt x="1796" y="350"/>
                      <a:pt x="1780" y="348"/>
                    </a:cubicBezTo>
                    <a:cubicBezTo>
                      <a:pt x="1779" y="348"/>
                      <a:pt x="1778" y="346"/>
                      <a:pt x="1778" y="344"/>
                    </a:cubicBezTo>
                    <a:cubicBezTo>
                      <a:pt x="1778" y="341"/>
                      <a:pt x="1798" y="318"/>
                      <a:pt x="1801" y="318"/>
                    </a:cubicBezTo>
                    <a:cubicBezTo>
                      <a:pt x="1810" y="319"/>
                      <a:pt x="1818" y="306"/>
                      <a:pt x="1826" y="317"/>
                    </a:cubicBezTo>
                    <a:cubicBezTo>
                      <a:pt x="1831" y="308"/>
                      <a:pt x="1844" y="309"/>
                      <a:pt x="1847" y="311"/>
                    </a:cubicBezTo>
                    <a:cubicBezTo>
                      <a:pt x="1865" y="322"/>
                      <a:pt x="1874" y="306"/>
                      <a:pt x="1886" y="300"/>
                    </a:cubicBezTo>
                    <a:cubicBezTo>
                      <a:pt x="1891" y="298"/>
                      <a:pt x="1895" y="294"/>
                      <a:pt x="1900" y="293"/>
                    </a:cubicBezTo>
                    <a:cubicBezTo>
                      <a:pt x="1916" y="289"/>
                      <a:pt x="1927" y="274"/>
                      <a:pt x="1946" y="281"/>
                    </a:cubicBezTo>
                    <a:cubicBezTo>
                      <a:pt x="1956" y="285"/>
                      <a:pt x="1954" y="276"/>
                      <a:pt x="1953" y="270"/>
                    </a:cubicBezTo>
                    <a:cubicBezTo>
                      <a:pt x="1949" y="255"/>
                      <a:pt x="1936" y="249"/>
                      <a:pt x="1923" y="242"/>
                    </a:cubicBezTo>
                    <a:cubicBezTo>
                      <a:pt x="1929" y="240"/>
                      <a:pt x="1932" y="240"/>
                      <a:pt x="1937" y="244"/>
                    </a:cubicBezTo>
                    <a:cubicBezTo>
                      <a:pt x="1948" y="252"/>
                      <a:pt x="1966" y="241"/>
                      <a:pt x="1964" y="228"/>
                    </a:cubicBezTo>
                    <a:cubicBezTo>
                      <a:pt x="1963" y="222"/>
                      <a:pt x="1966" y="220"/>
                      <a:pt x="1970" y="220"/>
                    </a:cubicBezTo>
                    <a:cubicBezTo>
                      <a:pt x="1976" y="218"/>
                      <a:pt x="1972" y="223"/>
                      <a:pt x="1973" y="225"/>
                    </a:cubicBezTo>
                    <a:cubicBezTo>
                      <a:pt x="1974" y="230"/>
                      <a:pt x="1977" y="234"/>
                      <a:pt x="1983" y="232"/>
                    </a:cubicBezTo>
                    <a:cubicBezTo>
                      <a:pt x="1993" y="230"/>
                      <a:pt x="1999" y="233"/>
                      <a:pt x="2005" y="240"/>
                    </a:cubicBezTo>
                    <a:cubicBezTo>
                      <a:pt x="2011" y="247"/>
                      <a:pt x="2019" y="252"/>
                      <a:pt x="2028" y="251"/>
                    </a:cubicBezTo>
                    <a:cubicBezTo>
                      <a:pt x="2036" y="250"/>
                      <a:pt x="2039" y="243"/>
                      <a:pt x="2038" y="234"/>
                    </a:cubicBezTo>
                    <a:cubicBezTo>
                      <a:pt x="2038" y="230"/>
                      <a:pt x="2044" y="233"/>
                      <a:pt x="2044" y="232"/>
                    </a:cubicBezTo>
                    <a:cubicBezTo>
                      <a:pt x="2047" y="225"/>
                      <a:pt x="2059" y="232"/>
                      <a:pt x="2059" y="223"/>
                    </a:cubicBezTo>
                    <a:close/>
                    <a:moveTo>
                      <a:pt x="704" y="589"/>
                    </a:moveTo>
                    <a:cubicBezTo>
                      <a:pt x="709" y="597"/>
                      <a:pt x="708" y="608"/>
                      <a:pt x="704" y="616"/>
                    </a:cubicBezTo>
                    <a:cubicBezTo>
                      <a:pt x="702" y="620"/>
                      <a:pt x="690" y="620"/>
                      <a:pt x="683" y="619"/>
                    </a:cubicBezTo>
                    <a:cubicBezTo>
                      <a:pt x="676" y="617"/>
                      <a:pt x="669" y="613"/>
                      <a:pt x="663" y="609"/>
                    </a:cubicBezTo>
                    <a:cubicBezTo>
                      <a:pt x="657" y="604"/>
                      <a:pt x="650" y="599"/>
                      <a:pt x="658" y="590"/>
                    </a:cubicBezTo>
                    <a:cubicBezTo>
                      <a:pt x="670" y="575"/>
                      <a:pt x="656" y="564"/>
                      <a:pt x="649" y="553"/>
                    </a:cubicBezTo>
                    <a:cubicBezTo>
                      <a:pt x="644" y="544"/>
                      <a:pt x="638" y="537"/>
                      <a:pt x="643" y="526"/>
                    </a:cubicBezTo>
                    <a:cubicBezTo>
                      <a:pt x="649" y="512"/>
                      <a:pt x="657" y="500"/>
                      <a:pt x="674" y="498"/>
                    </a:cubicBezTo>
                    <a:cubicBezTo>
                      <a:pt x="680" y="497"/>
                      <a:pt x="686" y="498"/>
                      <a:pt x="692" y="498"/>
                    </a:cubicBezTo>
                    <a:cubicBezTo>
                      <a:pt x="698" y="497"/>
                      <a:pt x="700" y="501"/>
                      <a:pt x="700" y="507"/>
                    </a:cubicBezTo>
                    <a:cubicBezTo>
                      <a:pt x="700" y="513"/>
                      <a:pt x="698" y="518"/>
                      <a:pt x="692" y="516"/>
                    </a:cubicBezTo>
                    <a:cubicBezTo>
                      <a:pt x="681" y="512"/>
                      <a:pt x="678" y="522"/>
                      <a:pt x="672" y="526"/>
                    </a:cubicBezTo>
                    <a:cubicBezTo>
                      <a:pt x="678" y="532"/>
                      <a:pt x="675" y="545"/>
                      <a:pt x="687" y="546"/>
                    </a:cubicBezTo>
                    <a:cubicBezTo>
                      <a:pt x="688" y="546"/>
                      <a:pt x="690" y="547"/>
                      <a:pt x="690" y="547"/>
                    </a:cubicBezTo>
                    <a:cubicBezTo>
                      <a:pt x="691" y="560"/>
                      <a:pt x="707" y="558"/>
                      <a:pt x="713" y="569"/>
                    </a:cubicBezTo>
                    <a:cubicBezTo>
                      <a:pt x="693" y="572"/>
                      <a:pt x="693" y="572"/>
                      <a:pt x="704" y="58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4">
                <a:extLst>
                  <a:ext uri="{FF2B5EF4-FFF2-40B4-BE49-F238E27FC236}">
                    <a16:creationId xmlns:a16="http://schemas.microsoft.com/office/drawing/2014/main" id="{4816EF47-A7C9-7DA9-281D-70A236E872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23547" y="1810576"/>
                <a:ext cx="3182947" cy="3735447"/>
              </a:xfrm>
              <a:custGeom>
                <a:avLst/>
                <a:gdLst>
                  <a:gd name="T0" fmla="*/ 1175 w 1335"/>
                  <a:gd name="T1" fmla="*/ 940 h 1566"/>
                  <a:gd name="T2" fmla="*/ 1056 w 1335"/>
                  <a:gd name="T3" fmla="*/ 840 h 1566"/>
                  <a:gd name="T4" fmla="*/ 910 w 1335"/>
                  <a:gd name="T5" fmla="*/ 859 h 1566"/>
                  <a:gd name="T6" fmla="*/ 797 w 1335"/>
                  <a:gd name="T7" fmla="*/ 770 h 1566"/>
                  <a:gd name="T8" fmla="*/ 706 w 1335"/>
                  <a:gd name="T9" fmla="*/ 720 h 1566"/>
                  <a:gd name="T10" fmla="*/ 778 w 1335"/>
                  <a:gd name="T11" fmla="*/ 636 h 1566"/>
                  <a:gd name="T12" fmla="*/ 880 w 1335"/>
                  <a:gd name="T13" fmla="*/ 669 h 1566"/>
                  <a:gd name="T14" fmla="*/ 924 w 1335"/>
                  <a:gd name="T15" fmla="*/ 540 h 1566"/>
                  <a:gd name="T16" fmla="*/ 1051 w 1335"/>
                  <a:gd name="T17" fmla="*/ 459 h 1566"/>
                  <a:gd name="T18" fmla="*/ 1030 w 1335"/>
                  <a:gd name="T19" fmla="*/ 404 h 1566"/>
                  <a:gd name="T20" fmla="*/ 1151 w 1335"/>
                  <a:gd name="T21" fmla="*/ 422 h 1566"/>
                  <a:gd name="T22" fmla="*/ 1098 w 1335"/>
                  <a:gd name="T23" fmla="*/ 319 h 1566"/>
                  <a:gd name="T24" fmla="*/ 983 w 1335"/>
                  <a:gd name="T25" fmla="*/ 246 h 1566"/>
                  <a:gd name="T26" fmla="*/ 895 w 1335"/>
                  <a:gd name="T27" fmla="*/ 273 h 1566"/>
                  <a:gd name="T28" fmla="*/ 856 w 1335"/>
                  <a:gd name="T29" fmla="*/ 345 h 1566"/>
                  <a:gd name="T30" fmla="*/ 767 w 1335"/>
                  <a:gd name="T31" fmla="*/ 209 h 1566"/>
                  <a:gd name="T32" fmla="*/ 869 w 1335"/>
                  <a:gd name="T33" fmla="*/ 195 h 1566"/>
                  <a:gd name="T34" fmla="*/ 905 w 1335"/>
                  <a:gd name="T35" fmla="*/ 88 h 1566"/>
                  <a:gd name="T36" fmla="*/ 921 w 1335"/>
                  <a:gd name="T37" fmla="*/ 168 h 1566"/>
                  <a:gd name="T38" fmla="*/ 1015 w 1335"/>
                  <a:gd name="T39" fmla="*/ 215 h 1566"/>
                  <a:gd name="T40" fmla="*/ 1042 w 1335"/>
                  <a:gd name="T41" fmla="*/ 170 h 1566"/>
                  <a:gd name="T42" fmla="*/ 942 w 1335"/>
                  <a:gd name="T43" fmla="*/ 58 h 1566"/>
                  <a:gd name="T44" fmla="*/ 823 w 1335"/>
                  <a:gd name="T45" fmla="*/ 58 h 1566"/>
                  <a:gd name="T46" fmla="*/ 841 w 1335"/>
                  <a:gd name="T47" fmla="*/ 87 h 1566"/>
                  <a:gd name="T48" fmla="*/ 734 w 1335"/>
                  <a:gd name="T49" fmla="*/ 53 h 1566"/>
                  <a:gd name="T50" fmla="*/ 725 w 1335"/>
                  <a:gd name="T51" fmla="*/ 37 h 1566"/>
                  <a:gd name="T52" fmla="*/ 595 w 1335"/>
                  <a:gd name="T53" fmla="*/ 119 h 1566"/>
                  <a:gd name="T54" fmla="*/ 539 w 1335"/>
                  <a:gd name="T55" fmla="*/ 102 h 1566"/>
                  <a:gd name="T56" fmla="*/ 625 w 1335"/>
                  <a:gd name="T57" fmla="*/ 18 h 1566"/>
                  <a:gd name="T58" fmla="*/ 546 w 1335"/>
                  <a:gd name="T59" fmla="*/ 40 h 1566"/>
                  <a:gd name="T60" fmla="*/ 436 w 1335"/>
                  <a:gd name="T61" fmla="*/ 25 h 1566"/>
                  <a:gd name="T62" fmla="*/ 508 w 1335"/>
                  <a:gd name="T63" fmla="*/ 89 h 1566"/>
                  <a:gd name="T64" fmla="*/ 395 w 1335"/>
                  <a:gd name="T65" fmla="*/ 84 h 1566"/>
                  <a:gd name="T66" fmla="*/ 274 w 1335"/>
                  <a:gd name="T67" fmla="*/ 91 h 1566"/>
                  <a:gd name="T68" fmla="*/ 58 w 1335"/>
                  <a:gd name="T69" fmla="*/ 85 h 1566"/>
                  <a:gd name="T70" fmla="*/ 6 w 1335"/>
                  <a:gd name="T71" fmla="*/ 171 h 1566"/>
                  <a:gd name="T72" fmla="*/ 27 w 1335"/>
                  <a:gd name="T73" fmla="*/ 245 h 1566"/>
                  <a:gd name="T74" fmla="*/ 82 w 1335"/>
                  <a:gd name="T75" fmla="*/ 302 h 1566"/>
                  <a:gd name="T76" fmla="*/ 130 w 1335"/>
                  <a:gd name="T77" fmla="*/ 292 h 1566"/>
                  <a:gd name="T78" fmla="*/ 164 w 1335"/>
                  <a:gd name="T79" fmla="*/ 264 h 1566"/>
                  <a:gd name="T80" fmla="*/ 292 w 1335"/>
                  <a:gd name="T81" fmla="*/ 270 h 1566"/>
                  <a:gd name="T82" fmla="*/ 370 w 1335"/>
                  <a:gd name="T83" fmla="*/ 330 h 1566"/>
                  <a:gd name="T84" fmla="*/ 462 w 1335"/>
                  <a:gd name="T85" fmla="*/ 561 h 1566"/>
                  <a:gd name="T86" fmla="*/ 582 w 1335"/>
                  <a:gd name="T87" fmla="*/ 694 h 1566"/>
                  <a:gd name="T88" fmla="*/ 659 w 1335"/>
                  <a:gd name="T89" fmla="*/ 763 h 1566"/>
                  <a:gd name="T90" fmla="*/ 804 w 1335"/>
                  <a:gd name="T91" fmla="*/ 817 h 1566"/>
                  <a:gd name="T92" fmla="*/ 925 w 1335"/>
                  <a:gd name="T93" fmla="*/ 950 h 1566"/>
                  <a:gd name="T94" fmla="*/ 948 w 1335"/>
                  <a:gd name="T95" fmla="*/ 1107 h 1566"/>
                  <a:gd name="T96" fmla="*/ 947 w 1335"/>
                  <a:gd name="T97" fmla="*/ 1386 h 1566"/>
                  <a:gd name="T98" fmla="*/ 931 w 1335"/>
                  <a:gd name="T99" fmla="*/ 1479 h 1566"/>
                  <a:gd name="T100" fmla="*/ 947 w 1335"/>
                  <a:gd name="T101" fmla="*/ 1532 h 1566"/>
                  <a:gd name="T102" fmla="*/ 984 w 1335"/>
                  <a:gd name="T103" fmla="*/ 1562 h 1566"/>
                  <a:gd name="T104" fmla="*/ 1027 w 1335"/>
                  <a:gd name="T105" fmla="*/ 1382 h 1566"/>
                  <a:gd name="T106" fmla="*/ 1169 w 1335"/>
                  <a:gd name="T107" fmla="*/ 1254 h 1566"/>
                  <a:gd name="T108" fmla="*/ 1306 w 1335"/>
                  <a:gd name="T109" fmla="*/ 1061 h 1566"/>
                  <a:gd name="T110" fmla="*/ 720 w 1335"/>
                  <a:gd name="T111" fmla="*/ 125 h 1566"/>
                  <a:gd name="T112" fmla="*/ 548 w 1335"/>
                  <a:gd name="T113" fmla="*/ 619 h 1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35" h="1566">
                    <a:moveTo>
                      <a:pt x="1314" y="992"/>
                    </a:moveTo>
                    <a:cubicBezTo>
                      <a:pt x="1312" y="992"/>
                      <a:pt x="1309" y="989"/>
                      <a:pt x="1307" y="987"/>
                    </a:cubicBezTo>
                    <a:cubicBezTo>
                      <a:pt x="1291" y="969"/>
                      <a:pt x="1270" y="967"/>
                      <a:pt x="1247" y="969"/>
                    </a:cubicBezTo>
                    <a:cubicBezTo>
                      <a:pt x="1244" y="969"/>
                      <a:pt x="1239" y="971"/>
                      <a:pt x="1238" y="967"/>
                    </a:cubicBezTo>
                    <a:cubicBezTo>
                      <a:pt x="1236" y="953"/>
                      <a:pt x="1224" y="954"/>
                      <a:pt x="1214" y="950"/>
                    </a:cubicBezTo>
                    <a:cubicBezTo>
                      <a:pt x="1208" y="948"/>
                      <a:pt x="1202" y="944"/>
                      <a:pt x="1200" y="955"/>
                    </a:cubicBezTo>
                    <a:cubicBezTo>
                      <a:pt x="1200" y="957"/>
                      <a:pt x="1197" y="957"/>
                      <a:pt x="1195" y="957"/>
                    </a:cubicBezTo>
                    <a:cubicBezTo>
                      <a:pt x="1194" y="957"/>
                      <a:pt x="1192" y="956"/>
                      <a:pt x="1193" y="954"/>
                    </a:cubicBezTo>
                    <a:cubicBezTo>
                      <a:pt x="1198" y="935"/>
                      <a:pt x="1181" y="946"/>
                      <a:pt x="1175" y="940"/>
                    </a:cubicBezTo>
                    <a:cubicBezTo>
                      <a:pt x="1183" y="933"/>
                      <a:pt x="1186" y="926"/>
                      <a:pt x="1175" y="919"/>
                    </a:cubicBezTo>
                    <a:cubicBezTo>
                      <a:pt x="1173" y="918"/>
                      <a:pt x="1171" y="914"/>
                      <a:pt x="1171" y="911"/>
                    </a:cubicBezTo>
                    <a:cubicBezTo>
                      <a:pt x="1170" y="896"/>
                      <a:pt x="1158" y="890"/>
                      <a:pt x="1146" y="885"/>
                    </a:cubicBezTo>
                    <a:cubicBezTo>
                      <a:pt x="1136" y="881"/>
                      <a:pt x="1126" y="879"/>
                      <a:pt x="1115" y="879"/>
                    </a:cubicBezTo>
                    <a:cubicBezTo>
                      <a:pt x="1106" y="879"/>
                      <a:pt x="1099" y="875"/>
                      <a:pt x="1097" y="869"/>
                    </a:cubicBezTo>
                    <a:cubicBezTo>
                      <a:pt x="1095" y="861"/>
                      <a:pt x="1087" y="858"/>
                      <a:pt x="1083" y="857"/>
                    </a:cubicBezTo>
                    <a:cubicBezTo>
                      <a:pt x="1069" y="856"/>
                      <a:pt x="1068" y="848"/>
                      <a:pt x="1069" y="837"/>
                    </a:cubicBezTo>
                    <a:cubicBezTo>
                      <a:pt x="1069" y="835"/>
                      <a:pt x="1068" y="834"/>
                      <a:pt x="1068" y="834"/>
                    </a:cubicBezTo>
                    <a:cubicBezTo>
                      <a:pt x="1061" y="834"/>
                      <a:pt x="1063" y="850"/>
                      <a:pt x="1056" y="840"/>
                    </a:cubicBezTo>
                    <a:cubicBezTo>
                      <a:pt x="1051" y="833"/>
                      <a:pt x="1047" y="834"/>
                      <a:pt x="1041" y="837"/>
                    </a:cubicBezTo>
                    <a:cubicBezTo>
                      <a:pt x="1029" y="844"/>
                      <a:pt x="1016" y="832"/>
                      <a:pt x="1004" y="837"/>
                    </a:cubicBezTo>
                    <a:cubicBezTo>
                      <a:pt x="1001" y="838"/>
                      <a:pt x="998" y="835"/>
                      <a:pt x="998" y="833"/>
                    </a:cubicBezTo>
                    <a:cubicBezTo>
                      <a:pt x="997" y="821"/>
                      <a:pt x="986" y="822"/>
                      <a:pt x="982" y="823"/>
                    </a:cubicBezTo>
                    <a:cubicBezTo>
                      <a:pt x="973" y="825"/>
                      <a:pt x="963" y="830"/>
                      <a:pt x="968" y="843"/>
                    </a:cubicBezTo>
                    <a:cubicBezTo>
                      <a:pt x="969" y="846"/>
                      <a:pt x="967" y="848"/>
                      <a:pt x="965" y="848"/>
                    </a:cubicBezTo>
                    <a:cubicBezTo>
                      <a:pt x="962" y="849"/>
                      <a:pt x="961" y="847"/>
                      <a:pt x="960" y="844"/>
                    </a:cubicBezTo>
                    <a:cubicBezTo>
                      <a:pt x="960" y="836"/>
                      <a:pt x="960" y="827"/>
                      <a:pt x="969" y="818"/>
                    </a:cubicBezTo>
                    <a:cubicBezTo>
                      <a:pt x="940" y="823"/>
                      <a:pt x="922" y="838"/>
                      <a:pt x="910" y="859"/>
                    </a:cubicBezTo>
                    <a:cubicBezTo>
                      <a:pt x="900" y="851"/>
                      <a:pt x="892" y="839"/>
                      <a:pt x="880" y="846"/>
                    </a:cubicBezTo>
                    <a:cubicBezTo>
                      <a:pt x="871" y="851"/>
                      <a:pt x="867" y="849"/>
                      <a:pt x="860" y="844"/>
                    </a:cubicBezTo>
                    <a:cubicBezTo>
                      <a:pt x="845" y="832"/>
                      <a:pt x="840" y="819"/>
                      <a:pt x="849" y="801"/>
                    </a:cubicBezTo>
                    <a:cubicBezTo>
                      <a:pt x="849" y="799"/>
                      <a:pt x="849" y="797"/>
                      <a:pt x="849" y="795"/>
                    </a:cubicBezTo>
                    <a:cubicBezTo>
                      <a:pt x="850" y="786"/>
                      <a:pt x="850" y="779"/>
                      <a:pt x="838" y="781"/>
                    </a:cubicBezTo>
                    <a:cubicBezTo>
                      <a:pt x="836" y="781"/>
                      <a:pt x="834" y="780"/>
                      <a:pt x="832" y="780"/>
                    </a:cubicBezTo>
                    <a:cubicBezTo>
                      <a:pt x="831" y="779"/>
                      <a:pt x="830" y="779"/>
                      <a:pt x="829" y="778"/>
                    </a:cubicBezTo>
                    <a:cubicBezTo>
                      <a:pt x="820" y="779"/>
                      <a:pt x="811" y="780"/>
                      <a:pt x="802" y="781"/>
                    </a:cubicBezTo>
                    <a:cubicBezTo>
                      <a:pt x="794" y="780"/>
                      <a:pt x="794" y="773"/>
                      <a:pt x="797" y="770"/>
                    </a:cubicBezTo>
                    <a:cubicBezTo>
                      <a:pt x="805" y="761"/>
                      <a:pt x="807" y="751"/>
                      <a:pt x="809" y="739"/>
                    </a:cubicBezTo>
                    <a:cubicBezTo>
                      <a:pt x="813" y="723"/>
                      <a:pt x="813" y="721"/>
                      <a:pt x="796" y="721"/>
                    </a:cubicBezTo>
                    <a:cubicBezTo>
                      <a:pt x="791" y="721"/>
                      <a:pt x="786" y="721"/>
                      <a:pt x="781" y="721"/>
                    </a:cubicBezTo>
                    <a:cubicBezTo>
                      <a:pt x="772" y="720"/>
                      <a:pt x="772" y="726"/>
                      <a:pt x="773" y="732"/>
                    </a:cubicBezTo>
                    <a:cubicBezTo>
                      <a:pt x="773" y="734"/>
                      <a:pt x="772" y="737"/>
                      <a:pt x="772" y="739"/>
                    </a:cubicBezTo>
                    <a:cubicBezTo>
                      <a:pt x="767" y="743"/>
                      <a:pt x="762" y="748"/>
                      <a:pt x="757" y="752"/>
                    </a:cubicBezTo>
                    <a:cubicBezTo>
                      <a:pt x="751" y="752"/>
                      <a:pt x="745" y="752"/>
                      <a:pt x="739" y="752"/>
                    </a:cubicBezTo>
                    <a:cubicBezTo>
                      <a:pt x="728" y="752"/>
                      <a:pt x="722" y="744"/>
                      <a:pt x="718" y="736"/>
                    </a:cubicBezTo>
                    <a:cubicBezTo>
                      <a:pt x="715" y="729"/>
                      <a:pt x="711" y="724"/>
                      <a:pt x="706" y="720"/>
                    </a:cubicBezTo>
                    <a:cubicBezTo>
                      <a:pt x="706" y="704"/>
                      <a:pt x="706" y="687"/>
                      <a:pt x="707" y="671"/>
                    </a:cubicBezTo>
                    <a:cubicBezTo>
                      <a:pt x="710" y="670"/>
                      <a:pt x="712" y="667"/>
                      <a:pt x="711" y="663"/>
                    </a:cubicBezTo>
                    <a:cubicBezTo>
                      <a:pt x="715" y="658"/>
                      <a:pt x="719" y="653"/>
                      <a:pt x="724" y="648"/>
                    </a:cubicBezTo>
                    <a:cubicBezTo>
                      <a:pt x="724" y="645"/>
                      <a:pt x="725" y="643"/>
                      <a:pt x="726" y="642"/>
                    </a:cubicBezTo>
                    <a:cubicBezTo>
                      <a:pt x="725" y="643"/>
                      <a:pt x="724" y="645"/>
                      <a:pt x="724" y="647"/>
                    </a:cubicBezTo>
                    <a:cubicBezTo>
                      <a:pt x="734" y="649"/>
                      <a:pt x="738" y="639"/>
                      <a:pt x="745" y="635"/>
                    </a:cubicBezTo>
                    <a:cubicBezTo>
                      <a:pt x="752" y="636"/>
                      <a:pt x="759" y="636"/>
                      <a:pt x="766" y="636"/>
                    </a:cubicBezTo>
                    <a:cubicBezTo>
                      <a:pt x="767" y="637"/>
                      <a:pt x="768" y="637"/>
                      <a:pt x="769" y="638"/>
                    </a:cubicBezTo>
                    <a:cubicBezTo>
                      <a:pt x="772" y="639"/>
                      <a:pt x="776" y="640"/>
                      <a:pt x="778" y="636"/>
                    </a:cubicBezTo>
                    <a:cubicBezTo>
                      <a:pt x="787" y="642"/>
                      <a:pt x="787" y="635"/>
                      <a:pt x="790" y="630"/>
                    </a:cubicBezTo>
                    <a:cubicBezTo>
                      <a:pt x="798" y="630"/>
                      <a:pt x="806" y="630"/>
                      <a:pt x="814" y="630"/>
                    </a:cubicBezTo>
                    <a:cubicBezTo>
                      <a:pt x="816" y="636"/>
                      <a:pt x="821" y="636"/>
                      <a:pt x="826" y="635"/>
                    </a:cubicBezTo>
                    <a:cubicBezTo>
                      <a:pt x="830" y="635"/>
                      <a:pt x="834" y="636"/>
                      <a:pt x="838" y="636"/>
                    </a:cubicBezTo>
                    <a:cubicBezTo>
                      <a:pt x="838" y="636"/>
                      <a:pt x="838" y="636"/>
                      <a:pt x="838" y="636"/>
                    </a:cubicBezTo>
                    <a:cubicBezTo>
                      <a:pt x="845" y="644"/>
                      <a:pt x="853" y="651"/>
                      <a:pt x="851" y="663"/>
                    </a:cubicBezTo>
                    <a:cubicBezTo>
                      <a:pt x="850" y="670"/>
                      <a:pt x="855" y="676"/>
                      <a:pt x="859" y="680"/>
                    </a:cubicBezTo>
                    <a:cubicBezTo>
                      <a:pt x="865" y="686"/>
                      <a:pt x="874" y="689"/>
                      <a:pt x="879" y="678"/>
                    </a:cubicBezTo>
                    <a:cubicBezTo>
                      <a:pt x="879" y="675"/>
                      <a:pt x="880" y="672"/>
                      <a:pt x="880" y="669"/>
                    </a:cubicBezTo>
                    <a:cubicBezTo>
                      <a:pt x="882" y="654"/>
                      <a:pt x="873" y="642"/>
                      <a:pt x="869" y="630"/>
                    </a:cubicBezTo>
                    <a:cubicBezTo>
                      <a:pt x="869" y="628"/>
                      <a:pt x="869" y="626"/>
                      <a:pt x="869" y="624"/>
                    </a:cubicBezTo>
                    <a:cubicBezTo>
                      <a:pt x="873" y="622"/>
                      <a:pt x="875" y="620"/>
                      <a:pt x="873" y="615"/>
                    </a:cubicBezTo>
                    <a:cubicBezTo>
                      <a:pt x="874" y="614"/>
                      <a:pt x="874" y="613"/>
                      <a:pt x="874" y="612"/>
                    </a:cubicBezTo>
                    <a:cubicBezTo>
                      <a:pt x="881" y="607"/>
                      <a:pt x="886" y="601"/>
                      <a:pt x="891" y="595"/>
                    </a:cubicBezTo>
                    <a:cubicBezTo>
                      <a:pt x="894" y="594"/>
                      <a:pt x="897" y="592"/>
                      <a:pt x="898" y="588"/>
                    </a:cubicBezTo>
                    <a:cubicBezTo>
                      <a:pt x="920" y="583"/>
                      <a:pt x="929" y="561"/>
                      <a:pt x="916" y="546"/>
                    </a:cubicBezTo>
                    <a:cubicBezTo>
                      <a:pt x="916" y="542"/>
                      <a:pt x="916" y="538"/>
                      <a:pt x="916" y="534"/>
                    </a:cubicBezTo>
                    <a:cubicBezTo>
                      <a:pt x="921" y="534"/>
                      <a:pt x="921" y="545"/>
                      <a:pt x="924" y="540"/>
                    </a:cubicBezTo>
                    <a:cubicBezTo>
                      <a:pt x="928" y="532"/>
                      <a:pt x="938" y="530"/>
                      <a:pt x="940" y="520"/>
                    </a:cubicBezTo>
                    <a:cubicBezTo>
                      <a:pt x="942" y="511"/>
                      <a:pt x="950" y="506"/>
                      <a:pt x="957" y="505"/>
                    </a:cubicBezTo>
                    <a:cubicBezTo>
                      <a:pt x="973" y="502"/>
                      <a:pt x="977" y="494"/>
                      <a:pt x="976" y="480"/>
                    </a:cubicBezTo>
                    <a:cubicBezTo>
                      <a:pt x="979" y="479"/>
                      <a:pt x="982" y="478"/>
                      <a:pt x="982" y="474"/>
                    </a:cubicBezTo>
                    <a:cubicBezTo>
                      <a:pt x="988" y="475"/>
                      <a:pt x="992" y="471"/>
                      <a:pt x="996" y="468"/>
                    </a:cubicBezTo>
                    <a:cubicBezTo>
                      <a:pt x="1004" y="462"/>
                      <a:pt x="1014" y="458"/>
                      <a:pt x="1024" y="459"/>
                    </a:cubicBezTo>
                    <a:cubicBezTo>
                      <a:pt x="1020" y="461"/>
                      <a:pt x="1019" y="465"/>
                      <a:pt x="1018" y="470"/>
                    </a:cubicBezTo>
                    <a:cubicBezTo>
                      <a:pt x="1026" y="473"/>
                      <a:pt x="1033" y="472"/>
                      <a:pt x="1038" y="464"/>
                    </a:cubicBezTo>
                    <a:cubicBezTo>
                      <a:pt x="1041" y="460"/>
                      <a:pt x="1046" y="459"/>
                      <a:pt x="1051" y="459"/>
                    </a:cubicBezTo>
                    <a:cubicBezTo>
                      <a:pt x="1065" y="462"/>
                      <a:pt x="1069" y="446"/>
                      <a:pt x="1080" y="443"/>
                    </a:cubicBezTo>
                    <a:cubicBezTo>
                      <a:pt x="1075" y="444"/>
                      <a:pt x="1074" y="430"/>
                      <a:pt x="1070" y="438"/>
                    </a:cubicBezTo>
                    <a:cubicBezTo>
                      <a:pt x="1064" y="450"/>
                      <a:pt x="1056" y="446"/>
                      <a:pt x="1048" y="447"/>
                    </a:cubicBezTo>
                    <a:cubicBezTo>
                      <a:pt x="1044" y="446"/>
                      <a:pt x="1042" y="440"/>
                      <a:pt x="1036" y="441"/>
                    </a:cubicBezTo>
                    <a:cubicBezTo>
                      <a:pt x="1036" y="439"/>
                      <a:pt x="1035" y="437"/>
                      <a:pt x="1035" y="435"/>
                    </a:cubicBezTo>
                    <a:cubicBezTo>
                      <a:pt x="1038" y="429"/>
                      <a:pt x="1032" y="426"/>
                      <a:pt x="1031" y="422"/>
                    </a:cubicBezTo>
                    <a:cubicBezTo>
                      <a:pt x="1032" y="422"/>
                      <a:pt x="1032" y="421"/>
                      <a:pt x="1031" y="420"/>
                    </a:cubicBezTo>
                    <a:cubicBezTo>
                      <a:pt x="1039" y="411"/>
                      <a:pt x="1039" y="409"/>
                      <a:pt x="1033" y="405"/>
                    </a:cubicBezTo>
                    <a:cubicBezTo>
                      <a:pt x="1032" y="405"/>
                      <a:pt x="1031" y="404"/>
                      <a:pt x="1030" y="404"/>
                    </a:cubicBezTo>
                    <a:cubicBezTo>
                      <a:pt x="1026" y="401"/>
                      <a:pt x="1022" y="401"/>
                      <a:pt x="1018" y="401"/>
                    </a:cubicBezTo>
                    <a:cubicBezTo>
                      <a:pt x="1019" y="388"/>
                      <a:pt x="1030" y="392"/>
                      <a:pt x="1039" y="388"/>
                    </a:cubicBezTo>
                    <a:cubicBezTo>
                      <a:pt x="1048" y="388"/>
                      <a:pt x="1057" y="388"/>
                      <a:pt x="1066" y="388"/>
                    </a:cubicBezTo>
                    <a:cubicBezTo>
                      <a:pt x="1084" y="396"/>
                      <a:pt x="1097" y="384"/>
                      <a:pt x="1113" y="371"/>
                    </a:cubicBezTo>
                    <a:cubicBezTo>
                      <a:pt x="1106" y="391"/>
                      <a:pt x="1095" y="405"/>
                      <a:pt x="1088" y="421"/>
                    </a:cubicBezTo>
                    <a:cubicBezTo>
                      <a:pt x="1102" y="427"/>
                      <a:pt x="1118" y="417"/>
                      <a:pt x="1132" y="426"/>
                    </a:cubicBezTo>
                    <a:cubicBezTo>
                      <a:pt x="1135" y="428"/>
                      <a:pt x="1140" y="428"/>
                      <a:pt x="1143" y="431"/>
                    </a:cubicBezTo>
                    <a:cubicBezTo>
                      <a:pt x="1145" y="433"/>
                      <a:pt x="1150" y="434"/>
                      <a:pt x="1152" y="430"/>
                    </a:cubicBezTo>
                    <a:cubicBezTo>
                      <a:pt x="1154" y="428"/>
                      <a:pt x="1153" y="425"/>
                      <a:pt x="1151" y="422"/>
                    </a:cubicBezTo>
                    <a:cubicBezTo>
                      <a:pt x="1147" y="417"/>
                      <a:pt x="1140" y="412"/>
                      <a:pt x="1144" y="404"/>
                    </a:cubicBezTo>
                    <a:cubicBezTo>
                      <a:pt x="1144" y="403"/>
                      <a:pt x="1142" y="401"/>
                      <a:pt x="1141" y="402"/>
                    </a:cubicBezTo>
                    <a:cubicBezTo>
                      <a:pt x="1131" y="406"/>
                      <a:pt x="1126" y="396"/>
                      <a:pt x="1119" y="393"/>
                    </a:cubicBezTo>
                    <a:cubicBezTo>
                      <a:pt x="1117" y="392"/>
                      <a:pt x="1113" y="393"/>
                      <a:pt x="1116" y="388"/>
                    </a:cubicBezTo>
                    <a:cubicBezTo>
                      <a:pt x="1119" y="382"/>
                      <a:pt x="1120" y="374"/>
                      <a:pt x="1122" y="370"/>
                    </a:cubicBezTo>
                    <a:cubicBezTo>
                      <a:pt x="1131" y="351"/>
                      <a:pt x="1126" y="342"/>
                      <a:pt x="1108" y="337"/>
                    </a:cubicBezTo>
                    <a:cubicBezTo>
                      <a:pt x="1105" y="334"/>
                      <a:pt x="1099" y="339"/>
                      <a:pt x="1096" y="333"/>
                    </a:cubicBezTo>
                    <a:cubicBezTo>
                      <a:pt x="1099" y="333"/>
                      <a:pt x="1104" y="334"/>
                      <a:pt x="1104" y="331"/>
                    </a:cubicBezTo>
                    <a:cubicBezTo>
                      <a:pt x="1104" y="326"/>
                      <a:pt x="1102" y="319"/>
                      <a:pt x="1098" y="319"/>
                    </a:cubicBezTo>
                    <a:cubicBezTo>
                      <a:pt x="1082" y="320"/>
                      <a:pt x="1077" y="306"/>
                      <a:pt x="1066" y="300"/>
                    </a:cubicBezTo>
                    <a:cubicBezTo>
                      <a:pt x="1066" y="297"/>
                      <a:pt x="1066" y="294"/>
                      <a:pt x="1066" y="291"/>
                    </a:cubicBezTo>
                    <a:cubicBezTo>
                      <a:pt x="1066" y="288"/>
                      <a:pt x="1067" y="284"/>
                      <a:pt x="1065" y="282"/>
                    </a:cubicBezTo>
                    <a:cubicBezTo>
                      <a:pt x="1058" y="272"/>
                      <a:pt x="1050" y="262"/>
                      <a:pt x="1042" y="252"/>
                    </a:cubicBezTo>
                    <a:cubicBezTo>
                      <a:pt x="1037" y="247"/>
                      <a:pt x="1029" y="241"/>
                      <a:pt x="1026" y="250"/>
                    </a:cubicBezTo>
                    <a:cubicBezTo>
                      <a:pt x="1022" y="260"/>
                      <a:pt x="1014" y="265"/>
                      <a:pt x="1009" y="272"/>
                    </a:cubicBezTo>
                    <a:cubicBezTo>
                      <a:pt x="1007" y="272"/>
                      <a:pt x="1005" y="272"/>
                      <a:pt x="1003" y="272"/>
                    </a:cubicBezTo>
                    <a:cubicBezTo>
                      <a:pt x="997" y="266"/>
                      <a:pt x="991" y="259"/>
                      <a:pt x="984" y="252"/>
                    </a:cubicBezTo>
                    <a:cubicBezTo>
                      <a:pt x="984" y="250"/>
                      <a:pt x="983" y="248"/>
                      <a:pt x="983" y="246"/>
                    </a:cubicBezTo>
                    <a:cubicBezTo>
                      <a:pt x="986" y="237"/>
                      <a:pt x="982" y="233"/>
                      <a:pt x="973" y="234"/>
                    </a:cubicBezTo>
                    <a:cubicBezTo>
                      <a:pt x="970" y="232"/>
                      <a:pt x="967" y="230"/>
                      <a:pt x="964" y="228"/>
                    </a:cubicBezTo>
                    <a:cubicBezTo>
                      <a:pt x="960" y="223"/>
                      <a:pt x="957" y="217"/>
                      <a:pt x="949" y="217"/>
                    </a:cubicBezTo>
                    <a:cubicBezTo>
                      <a:pt x="947" y="217"/>
                      <a:pt x="945" y="216"/>
                      <a:pt x="943" y="216"/>
                    </a:cubicBezTo>
                    <a:cubicBezTo>
                      <a:pt x="937" y="215"/>
                      <a:pt x="931" y="215"/>
                      <a:pt x="924" y="212"/>
                    </a:cubicBezTo>
                    <a:cubicBezTo>
                      <a:pt x="908" y="203"/>
                      <a:pt x="898" y="211"/>
                      <a:pt x="898" y="228"/>
                    </a:cubicBezTo>
                    <a:cubicBezTo>
                      <a:pt x="898" y="240"/>
                      <a:pt x="904" y="254"/>
                      <a:pt x="893" y="265"/>
                    </a:cubicBezTo>
                    <a:cubicBezTo>
                      <a:pt x="893" y="265"/>
                      <a:pt x="895" y="268"/>
                      <a:pt x="895" y="270"/>
                    </a:cubicBezTo>
                    <a:cubicBezTo>
                      <a:pt x="895" y="271"/>
                      <a:pt x="895" y="272"/>
                      <a:pt x="895" y="273"/>
                    </a:cubicBezTo>
                    <a:cubicBezTo>
                      <a:pt x="891" y="278"/>
                      <a:pt x="894" y="280"/>
                      <a:pt x="898" y="281"/>
                    </a:cubicBezTo>
                    <a:cubicBezTo>
                      <a:pt x="901" y="286"/>
                      <a:pt x="904" y="291"/>
                      <a:pt x="910" y="294"/>
                    </a:cubicBezTo>
                    <a:cubicBezTo>
                      <a:pt x="910" y="297"/>
                      <a:pt x="910" y="300"/>
                      <a:pt x="911" y="303"/>
                    </a:cubicBezTo>
                    <a:cubicBezTo>
                      <a:pt x="910" y="304"/>
                      <a:pt x="910" y="305"/>
                      <a:pt x="910" y="306"/>
                    </a:cubicBezTo>
                    <a:cubicBezTo>
                      <a:pt x="903" y="311"/>
                      <a:pt x="897" y="317"/>
                      <a:pt x="892" y="324"/>
                    </a:cubicBezTo>
                    <a:cubicBezTo>
                      <a:pt x="880" y="330"/>
                      <a:pt x="885" y="340"/>
                      <a:pt x="889" y="346"/>
                    </a:cubicBezTo>
                    <a:cubicBezTo>
                      <a:pt x="893" y="352"/>
                      <a:pt x="892" y="358"/>
                      <a:pt x="892" y="363"/>
                    </a:cubicBezTo>
                    <a:cubicBezTo>
                      <a:pt x="890" y="371"/>
                      <a:pt x="887" y="376"/>
                      <a:pt x="878" y="368"/>
                    </a:cubicBezTo>
                    <a:cubicBezTo>
                      <a:pt x="870" y="361"/>
                      <a:pt x="862" y="354"/>
                      <a:pt x="856" y="345"/>
                    </a:cubicBezTo>
                    <a:cubicBezTo>
                      <a:pt x="858" y="343"/>
                      <a:pt x="859" y="342"/>
                      <a:pt x="857" y="340"/>
                    </a:cubicBezTo>
                    <a:cubicBezTo>
                      <a:pt x="858" y="326"/>
                      <a:pt x="856" y="316"/>
                      <a:pt x="837" y="317"/>
                    </a:cubicBezTo>
                    <a:cubicBezTo>
                      <a:pt x="830" y="317"/>
                      <a:pt x="818" y="315"/>
                      <a:pt x="812" y="308"/>
                    </a:cubicBezTo>
                    <a:cubicBezTo>
                      <a:pt x="799" y="291"/>
                      <a:pt x="781" y="293"/>
                      <a:pt x="764" y="293"/>
                    </a:cubicBezTo>
                    <a:cubicBezTo>
                      <a:pt x="755" y="293"/>
                      <a:pt x="754" y="290"/>
                      <a:pt x="754" y="283"/>
                    </a:cubicBezTo>
                    <a:cubicBezTo>
                      <a:pt x="755" y="275"/>
                      <a:pt x="753" y="270"/>
                      <a:pt x="744" y="269"/>
                    </a:cubicBezTo>
                    <a:cubicBezTo>
                      <a:pt x="740" y="269"/>
                      <a:pt x="737" y="264"/>
                      <a:pt x="733" y="261"/>
                    </a:cubicBezTo>
                    <a:cubicBezTo>
                      <a:pt x="733" y="259"/>
                      <a:pt x="733" y="257"/>
                      <a:pt x="733" y="255"/>
                    </a:cubicBezTo>
                    <a:cubicBezTo>
                      <a:pt x="740" y="236"/>
                      <a:pt x="753" y="222"/>
                      <a:pt x="767" y="209"/>
                    </a:cubicBezTo>
                    <a:cubicBezTo>
                      <a:pt x="772" y="204"/>
                      <a:pt x="769" y="198"/>
                      <a:pt x="770" y="198"/>
                    </a:cubicBezTo>
                    <a:cubicBezTo>
                      <a:pt x="784" y="201"/>
                      <a:pt x="794" y="187"/>
                      <a:pt x="808" y="192"/>
                    </a:cubicBezTo>
                    <a:cubicBezTo>
                      <a:pt x="808" y="185"/>
                      <a:pt x="807" y="178"/>
                      <a:pt x="807" y="171"/>
                    </a:cubicBezTo>
                    <a:cubicBezTo>
                      <a:pt x="807" y="170"/>
                      <a:pt x="808" y="169"/>
                      <a:pt x="808" y="167"/>
                    </a:cubicBezTo>
                    <a:cubicBezTo>
                      <a:pt x="810" y="167"/>
                      <a:pt x="812" y="167"/>
                      <a:pt x="814" y="166"/>
                    </a:cubicBezTo>
                    <a:cubicBezTo>
                      <a:pt x="826" y="168"/>
                      <a:pt x="816" y="174"/>
                      <a:pt x="816" y="178"/>
                    </a:cubicBezTo>
                    <a:cubicBezTo>
                      <a:pt x="817" y="184"/>
                      <a:pt x="814" y="189"/>
                      <a:pt x="808" y="192"/>
                    </a:cubicBezTo>
                    <a:cubicBezTo>
                      <a:pt x="816" y="195"/>
                      <a:pt x="829" y="202"/>
                      <a:pt x="831" y="200"/>
                    </a:cubicBezTo>
                    <a:cubicBezTo>
                      <a:pt x="843" y="187"/>
                      <a:pt x="857" y="196"/>
                      <a:pt x="869" y="195"/>
                    </a:cubicBezTo>
                    <a:cubicBezTo>
                      <a:pt x="871" y="195"/>
                      <a:pt x="873" y="195"/>
                      <a:pt x="873" y="192"/>
                    </a:cubicBezTo>
                    <a:cubicBezTo>
                      <a:pt x="856" y="178"/>
                      <a:pt x="838" y="167"/>
                      <a:pt x="817" y="159"/>
                    </a:cubicBezTo>
                    <a:cubicBezTo>
                      <a:pt x="820" y="156"/>
                      <a:pt x="818" y="149"/>
                      <a:pt x="825" y="151"/>
                    </a:cubicBezTo>
                    <a:cubicBezTo>
                      <a:pt x="836" y="154"/>
                      <a:pt x="846" y="148"/>
                      <a:pt x="856" y="148"/>
                    </a:cubicBezTo>
                    <a:cubicBezTo>
                      <a:pt x="859" y="148"/>
                      <a:pt x="860" y="147"/>
                      <a:pt x="860" y="144"/>
                    </a:cubicBezTo>
                    <a:cubicBezTo>
                      <a:pt x="870" y="133"/>
                      <a:pt x="859" y="119"/>
                      <a:pt x="864" y="106"/>
                    </a:cubicBezTo>
                    <a:cubicBezTo>
                      <a:pt x="867" y="98"/>
                      <a:pt x="853" y="99"/>
                      <a:pt x="850" y="93"/>
                    </a:cubicBezTo>
                    <a:cubicBezTo>
                      <a:pt x="863" y="92"/>
                      <a:pt x="879" y="91"/>
                      <a:pt x="887" y="85"/>
                    </a:cubicBezTo>
                    <a:cubicBezTo>
                      <a:pt x="898" y="78"/>
                      <a:pt x="900" y="84"/>
                      <a:pt x="905" y="88"/>
                    </a:cubicBezTo>
                    <a:cubicBezTo>
                      <a:pt x="908" y="91"/>
                      <a:pt x="911" y="94"/>
                      <a:pt x="915" y="96"/>
                    </a:cubicBezTo>
                    <a:cubicBezTo>
                      <a:pt x="924" y="100"/>
                      <a:pt x="921" y="103"/>
                      <a:pt x="915" y="107"/>
                    </a:cubicBezTo>
                    <a:cubicBezTo>
                      <a:pt x="931" y="106"/>
                      <a:pt x="945" y="113"/>
                      <a:pt x="950" y="125"/>
                    </a:cubicBezTo>
                    <a:cubicBezTo>
                      <a:pt x="956" y="137"/>
                      <a:pt x="959" y="146"/>
                      <a:pt x="975" y="142"/>
                    </a:cubicBezTo>
                    <a:cubicBezTo>
                      <a:pt x="977" y="141"/>
                      <a:pt x="982" y="147"/>
                      <a:pt x="986" y="150"/>
                    </a:cubicBezTo>
                    <a:cubicBezTo>
                      <a:pt x="978" y="156"/>
                      <a:pt x="973" y="158"/>
                      <a:pt x="966" y="150"/>
                    </a:cubicBezTo>
                    <a:cubicBezTo>
                      <a:pt x="959" y="143"/>
                      <a:pt x="950" y="147"/>
                      <a:pt x="942" y="148"/>
                    </a:cubicBezTo>
                    <a:cubicBezTo>
                      <a:pt x="939" y="148"/>
                      <a:pt x="937" y="152"/>
                      <a:pt x="938" y="155"/>
                    </a:cubicBezTo>
                    <a:cubicBezTo>
                      <a:pt x="943" y="173"/>
                      <a:pt x="930" y="171"/>
                      <a:pt x="921" y="168"/>
                    </a:cubicBezTo>
                    <a:cubicBezTo>
                      <a:pt x="914" y="165"/>
                      <a:pt x="909" y="168"/>
                      <a:pt x="903" y="171"/>
                    </a:cubicBezTo>
                    <a:cubicBezTo>
                      <a:pt x="899" y="173"/>
                      <a:pt x="898" y="176"/>
                      <a:pt x="899" y="179"/>
                    </a:cubicBezTo>
                    <a:cubicBezTo>
                      <a:pt x="899" y="184"/>
                      <a:pt x="904" y="183"/>
                      <a:pt x="907" y="183"/>
                    </a:cubicBezTo>
                    <a:cubicBezTo>
                      <a:pt x="916" y="182"/>
                      <a:pt x="924" y="184"/>
                      <a:pt x="933" y="181"/>
                    </a:cubicBezTo>
                    <a:cubicBezTo>
                      <a:pt x="940" y="178"/>
                      <a:pt x="946" y="182"/>
                      <a:pt x="953" y="187"/>
                    </a:cubicBezTo>
                    <a:cubicBezTo>
                      <a:pt x="961" y="192"/>
                      <a:pt x="960" y="205"/>
                      <a:pt x="969" y="206"/>
                    </a:cubicBezTo>
                    <a:cubicBezTo>
                      <a:pt x="984" y="207"/>
                      <a:pt x="995" y="218"/>
                      <a:pt x="1008" y="223"/>
                    </a:cubicBezTo>
                    <a:cubicBezTo>
                      <a:pt x="1012" y="224"/>
                      <a:pt x="1014" y="225"/>
                      <a:pt x="1016" y="222"/>
                    </a:cubicBezTo>
                    <a:cubicBezTo>
                      <a:pt x="1019" y="219"/>
                      <a:pt x="1016" y="216"/>
                      <a:pt x="1015" y="215"/>
                    </a:cubicBezTo>
                    <a:cubicBezTo>
                      <a:pt x="1009" y="208"/>
                      <a:pt x="1002" y="203"/>
                      <a:pt x="996" y="197"/>
                    </a:cubicBezTo>
                    <a:cubicBezTo>
                      <a:pt x="1004" y="198"/>
                      <a:pt x="1011" y="201"/>
                      <a:pt x="1017" y="205"/>
                    </a:cubicBezTo>
                    <a:cubicBezTo>
                      <a:pt x="1024" y="208"/>
                      <a:pt x="1028" y="206"/>
                      <a:pt x="1033" y="201"/>
                    </a:cubicBezTo>
                    <a:cubicBezTo>
                      <a:pt x="1041" y="195"/>
                      <a:pt x="1030" y="196"/>
                      <a:pt x="1030" y="192"/>
                    </a:cubicBezTo>
                    <a:cubicBezTo>
                      <a:pt x="1029" y="179"/>
                      <a:pt x="1017" y="177"/>
                      <a:pt x="1009" y="171"/>
                    </a:cubicBezTo>
                    <a:cubicBezTo>
                      <a:pt x="1000" y="166"/>
                      <a:pt x="1001" y="157"/>
                      <a:pt x="1005" y="151"/>
                    </a:cubicBezTo>
                    <a:cubicBezTo>
                      <a:pt x="1009" y="145"/>
                      <a:pt x="1014" y="155"/>
                      <a:pt x="1020" y="155"/>
                    </a:cubicBezTo>
                    <a:cubicBezTo>
                      <a:pt x="1022" y="154"/>
                      <a:pt x="1024" y="161"/>
                      <a:pt x="1027" y="163"/>
                    </a:cubicBezTo>
                    <a:cubicBezTo>
                      <a:pt x="1031" y="167"/>
                      <a:pt x="1035" y="174"/>
                      <a:pt x="1042" y="170"/>
                    </a:cubicBezTo>
                    <a:cubicBezTo>
                      <a:pt x="1052" y="164"/>
                      <a:pt x="1059" y="156"/>
                      <a:pt x="1065" y="146"/>
                    </a:cubicBezTo>
                    <a:cubicBezTo>
                      <a:pt x="1066" y="145"/>
                      <a:pt x="1065" y="144"/>
                      <a:pt x="1064" y="144"/>
                    </a:cubicBezTo>
                    <a:cubicBezTo>
                      <a:pt x="1050" y="140"/>
                      <a:pt x="1043" y="125"/>
                      <a:pt x="1028" y="123"/>
                    </a:cubicBezTo>
                    <a:cubicBezTo>
                      <a:pt x="1020" y="122"/>
                      <a:pt x="1013" y="119"/>
                      <a:pt x="1006" y="117"/>
                    </a:cubicBezTo>
                    <a:cubicBezTo>
                      <a:pt x="1002" y="115"/>
                      <a:pt x="998" y="107"/>
                      <a:pt x="1002" y="106"/>
                    </a:cubicBezTo>
                    <a:cubicBezTo>
                      <a:pt x="1016" y="102"/>
                      <a:pt x="995" y="91"/>
                      <a:pt x="1007" y="88"/>
                    </a:cubicBezTo>
                    <a:cubicBezTo>
                      <a:pt x="997" y="89"/>
                      <a:pt x="993" y="76"/>
                      <a:pt x="989" y="76"/>
                    </a:cubicBezTo>
                    <a:cubicBezTo>
                      <a:pt x="971" y="80"/>
                      <a:pt x="965" y="54"/>
                      <a:pt x="947" y="63"/>
                    </a:cubicBezTo>
                    <a:cubicBezTo>
                      <a:pt x="944" y="64"/>
                      <a:pt x="944" y="60"/>
                      <a:pt x="942" y="58"/>
                    </a:cubicBezTo>
                    <a:cubicBezTo>
                      <a:pt x="929" y="47"/>
                      <a:pt x="917" y="35"/>
                      <a:pt x="898" y="39"/>
                    </a:cubicBezTo>
                    <a:cubicBezTo>
                      <a:pt x="898" y="45"/>
                      <a:pt x="894" y="49"/>
                      <a:pt x="888" y="46"/>
                    </a:cubicBezTo>
                    <a:cubicBezTo>
                      <a:pt x="881" y="43"/>
                      <a:pt x="877" y="47"/>
                      <a:pt x="869" y="50"/>
                    </a:cubicBezTo>
                    <a:cubicBezTo>
                      <a:pt x="869" y="42"/>
                      <a:pt x="869" y="34"/>
                      <a:pt x="869" y="27"/>
                    </a:cubicBezTo>
                    <a:cubicBezTo>
                      <a:pt x="865" y="25"/>
                      <a:pt x="863" y="11"/>
                      <a:pt x="852" y="17"/>
                    </a:cubicBezTo>
                    <a:cubicBezTo>
                      <a:pt x="845" y="21"/>
                      <a:pt x="837" y="24"/>
                      <a:pt x="830" y="27"/>
                    </a:cubicBezTo>
                    <a:cubicBezTo>
                      <a:pt x="825" y="29"/>
                      <a:pt x="821" y="32"/>
                      <a:pt x="823" y="36"/>
                    </a:cubicBezTo>
                    <a:cubicBezTo>
                      <a:pt x="826" y="42"/>
                      <a:pt x="826" y="46"/>
                      <a:pt x="823" y="51"/>
                    </a:cubicBezTo>
                    <a:cubicBezTo>
                      <a:pt x="822" y="54"/>
                      <a:pt x="829" y="57"/>
                      <a:pt x="823" y="58"/>
                    </a:cubicBezTo>
                    <a:cubicBezTo>
                      <a:pt x="819" y="58"/>
                      <a:pt x="818" y="55"/>
                      <a:pt x="817" y="51"/>
                    </a:cubicBezTo>
                    <a:cubicBezTo>
                      <a:pt x="813" y="37"/>
                      <a:pt x="815" y="26"/>
                      <a:pt x="830" y="20"/>
                    </a:cubicBezTo>
                    <a:cubicBezTo>
                      <a:pt x="816" y="15"/>
                      <a:pt x="794" y="22"/>
                      <a:pt x="787" y="32"/>
                    </a:cubicBezTo>
                    <a:cubicBezTo>
                      <a:pt x="781" y="40"/>
                      <a:pt x="779" y="50"/>
                      <a:pt x="782" y="60"/>
                    </a:cubicBezTo>
                    <a:cubicBezTo>
                      <a:pt x="784" y="67"/>
                      <a:pt x="794" y="64"/>
                      <a:pt x="800" y="66"/>
                    </a:cubicBezTo>
                    <a:cubicBezTo>
                      <a:pt x="801" y="67"/>
                      <a:pt x="803" y="67"/>
                      <a:pt x="802" y="68"/>
                    </a:cubicBezTo>
                    <a:cubicBezTo>
                      <a:pt x="797" y="72"/>
                      <a:pt x="789" y="64"/>
                      <a:pt x="787" y="73"/>
                    </a:cubicBezTo>
                    <a:cubicBezTo>
                      <a:pt x="787" y="77"/>
                      <a:pt x="790" y="81"/>
                      <a:pt x="795" y="81"/>
                    </a:cubicBezTo>
                    <a:cubicBezTo>
                      <a:pt x="811" y="79"/>
                      <a:pt x="825" y="91"/>
                      <a:pt x="841" y="87"/>
                    </a:cubicBezTo>
                    <a:cubicBezTo>
                      <a:pt x="844" y="87"/>
                      <a:pt x="847" y="87"/>
                      <a:pt x="847" y="91"/>
                    </a:cubicBezTo>
                    <a:cubicBezTo>
                      <a:pt x="836" y="89"/>
                      <a:pt x="825" y="88"/>
                      <a:pt x="823" y="104"/>
                    </a:cubicBezTo>
                    <a:cubicBezTo>
                      <a:pt x="822" y="108"/>
                      <a:pt x="819" y="112"/>
                      <a:pt x="817" y="117"/>
                    </a:cubicBezTo>
                    <a:cubicBezTo>
                      <a:pt x="814" y="119"/>
                      <a:pt x="810" y="121"/>
                      <a:pt x="812" y="126"/>
                    </a:cubicBezTo>
                    <a:cubicBezTo>
                      <a:pt x="797" y="132"/>
                      <a:pt x="800" y="117"/>
                      <a:pt x="801" y="113"/>
                    </a:cubicBezTo>
                    <a:cubicBezTo>
                      <a:pt x="801" y="104"/>
                      <a:pt x="797" y="101"/>
                      <a:pt x="790" y="102"/>
                    </a:cubicBezTo>
                    <a:cubicBezTo>
                      <a:pt x="771" y="106"/>
                      <a:pt x="768" y="93"/>
                      <a:pt x="763" y="81"/>
                    </a:cubicBezTo>
                    <a:cubicBezTo>
                      <a:pt x="767" y="76"/>
                      <a:pt x="764" y="74"/>
                      <a:pt x="760" y="72"/>
                    </a:cubicBezTo>
                    <a:cubicBezTo>
                      <a:pt x="754" y="63"/>
                      <a:pt x="750" y="50"/>
                      <a:pt x="734" y="53"/>
                    </a:cubicBezTo>
                    <a:cubicBezTo>
                      <a:pt x="744" y="49"/>
                      <a:pt x="747" y="34"/>
                      <a:pt x="760" y="38"/>
                    </a:cubicBezTo>
                    <a:cubicBezTo>
                      <a:pt x="762" y="39"/>
                      <a:pt x="763" y="38"/>
                      <a:pt x="762" y="36"/>
                    </a:cubicBezTo>
                    <a:cubicBezTo>
                      <a:pt x="766" y="31"/>
                      <a:pt x="768" y="26"/>
                      <a:pt x="772" y="22"/>
                    </a:cubicBezTo>
                    <a:cubicBezTo>
                      <a:pt x="776" y="17"/>
                      <a:pt x="774" y="14"/>
                      <a:pt x="770" y="14"/>
                    </a:cubicBezTo>
                    <a:cubicBezTo>
                      <a:pt x="760" y="15"/>
                      <a:pt x="752" y="7"/>
                      <a:pt x="742" y="10"/>
                    </a:cubicBezTo>
                    <a:cubicBezTo>
                      <a:pt x="741" y="10"/>
                      <a:pt x="740" y="10"/>
                      <a:pt x="739" y="10"/>
                    </a:cubicBezTo>
                    <a:cubicBezTo>
                      <a:pt x="736" y="9"/>
                      <a:pt x="733" y="11"/>
                      <a:pt x="730" y="13"/>
                    </a:cubicBezTo>
                    <a:cubicBezTo>
                      <a:pt x="725" y="14"/>
                      <a:pt x="730" y="19"/>
                      <a:pt x="727" y="21"/>
                    </a:cubicBezTo>
                    <a:cubicBezTo>
                      <a:pt x="717" y="25"/>
                      <a:pt x="722" y="32"/>
                      <a:pt x="725" y="37"/>
                    </a:cubicBezTo>
                    <a:cubicBezTo>
                      <a:pt x="727" y="43"/>
                      <a:pt x="730" y="51"/>
                      <a:pt x="725" y="53"/>
                    </a:cubicBezTo>
                    <a:cubicBezTo>
                      <a:pt x="708" y="62"/>
                      <a:pt x="711" y="76"/>
                      <a:pt x="713" y="90"/>
                    </a:cubicBezTo>
                    <a:cubicBezTo>
                      <a:pt x="702" y="91"/>
                      <a:pt x="694" y="97"/>
                      <a:pt x="688" y="106"/>
                    </a:cubicBezTo>
                    <a:cubicBezTo>
                      <a:pt x="693" y="108"/>
                      <a:pt x="698" y="110"/>
                      <a:pt x="702" y="112"/>
                    </a:cubicBezTo>
                    <a:cubicBezTo>
                      <a:pt x="697" y="117"/>
                      <a:pt x="693" y="120"/>
                      <a:pt x="688" y="124"/>
                    </a:cubicBezTo>
                    <a:cubicBezTo>
                      <a:pt x="684" y="123"/>
                      <a:pt x="680" y="124"/>
                      <a:pt x="676" y="126"/>
                    </a:cubicBezTo>
                    <a:cubicBezTo>
                      <a:pt x="661" y="127"/>
                      <a:pt x="648" y="121"/>
                      <a:pt x="634" y="115"/>
                    </a:cubicBezTo>
                    <a:cubicBezTo>
                      <a:pt x="631" y="115"/>
                      <a:pt x="628" y="114"/>
                      <a:pt x="625" y="114"/>
                    </a:cubicBezTo>
                    <a:cubicBezTo>
                      <a:pt x="618" y="106"/>
                      <a:pt x="604" y="108"/>
                      <a:pt x="595" y="119"/>
                    </a:cubicBezTo>
                    <a:cubicBezTo>
                      <a:pt x="600" y="121"/>
                      <a:pt x="604" y="114"/>
                      <a:pt x="610" y="119"/>
                    </a:cubicBezTo>
                    <a:cubicBezTo>
                      <a:pt x="594" y="121"/>
                      <a:pt x="610" y="135"/>
                      <a:pt x="601" y="140"/>
                    </a:cubicBezTo>
                    <a:cubicBezTo>
                      <a:pt x="600" y="139"/>
                      <a:pt x="599" y="139"/>
                      <a:pt x="598" y="138"/>
                    </a:cubicBezTo>
                    <a:cubicBezTo>
                      <a:pt x="598" y="130"/>
                      <a:pt x="595" y="125"/>
                      <a:pt x="586" y="127"/>
                    </a:cubicBezTo>
                    <a:cubicBezTo>
                      <a:pt x="583" y="126"/>
                      <a:pt x="581" y="121"/>
                      <a:pt x="577" y="126"/>
                    </a:cubicBezTo>
                    <a:cubicBezTo>
                      <a:pt x="566" y="126"/>
                      <a:pt x="556" y="126"/>
                      <a:pt x="546" y="126"/>
                    </a:cubicBezTo>
                    <a:cubicBezTo>
                      <a:pt x="538" y="127"/>
                      <a:pt x="537" y="123"/>
                      <a:pt x="538" y="117"/>
                    </a:cubicBezTo>
                    <a:cubicBezTo>
                      <a:pt x="541" y="116"/>
                      <a:pt x="541" y="115"/>
                      <a:pt x="538" y="114"/>
                    </a:cubicBezTo>
                    <a:cubicBezTo>
                      <a:pt x="539" y="110"/>
                      <a:pt x="535" y="106"/>
                      <a:pt x="539" y="102"/>
                    </a:cubicBezTo>
                    <a:cubicBezTo>
                      <a:pt x="545" y="104"/>
                      <a:pt x="545" y="110"/>
                      <a:pt x="552" y="112"/>
                    </a:cubicBezTo>
                    <a:cubicBezTo>
                      <a:pt x="573" y="118"/>
                      <a:pt x="590" y="110"/>
                      <a:pt x="608" y="103"/>
                    </a:cubicBezTo>
                    <a:cubicBezTo>
                      <a:pt x="614" y="101"/>
                      <a:pt x="616" y="100"/>
                      <a:pt x="622" y="103"/>
                    </a:cubicBezTo>
                    <a:cubicBezTo>
                      <a:pt x="640" y="114"/>
                      <a:pt x="652" y="112"/>
                      <a:pt x="663" y="101"/>
                    </a:cubicBezTo>
                    <a:cubicBezTo>
                      <a:pt x="660" y="96"/>
                      <a:pt x="652" y="102"/>
                      <a:pt x="649" y="96"/>
                    </a:cubicBezTo>
                    <a:cubicBezTo>
                      <a:pt x="655" y="89"/>
                      <a:pt x="663" y="93"/>
                      <a:pt x="670" y="92"/>
                    </a:cubicBezTo>
                    <a:cubicBezTo>
                      <a:pt x="669" y="80"/>
                      <a:pt x="658" y="79"/>
                      <a:pt x="651" y="76"/>
                    </a:cubicBezTo>
                    <a:cubicBezTo>
                      <a:pt x="633" y="68"/>
                      <a:pt x="624" y="48"/>
                      <a:pt x="632" y="30"/>
                    </a:cubicBezTo>
                    <a:cubicBezTo>
                      <a:pt x="636" y="22"/>
                      <a:pt x="633" y="19"/>
                      <a:pt x="625" y="18"/>
                    </a:cubicBezTo>
                    <a:cubicBezTo>
                      <a:pt x="616" y="17"/>
                      <a:pt x="611" y="28"/>
                      <a:pt x="602" y="29"/>
                    </a:cubicBezTo>
                    <a:cubicBezTo>
                      <a:pt x="600" y="30"/>
                      <a:pt x="601" y="41"/>
                      <a:pt x="603" y="47"/>
                    </a:cubicBezTo>
                    <a:cubicBezTo>
                      <a:pt x="604" y="49"/>
                      <a:pt x="610" y="54"/>
                      <a:pt x="604" y="56"/>
                    </a:cubicBezTo>
                    <a:cubicBezTo>
                      <a:pt x="599" y="58"/>
                      <a:pt x="595" y="55"/>
                      <a:pt x="595" y="49"/>
                    </a:cubicBezTo>
                    <a:cubicBezTo>
                      <a:pt x="596" y="41"/>
                      <a:pt x="590" y="37"/>
                      <a:pt x="584" y="34"/>
                    </a:cubicBezTo>
                    <a:cubicBezTo>
                      <a:pt x="582" y="32"/>
                      <a:pt x="576" y="31"/>
                      <a:pt x="578" y="37"/>
                    </a:cubicBezTo>
                    <a:cubicBezTo>
                      <a:pt x="579" y="40"/>
                      <a:pt x="583" y="45"/>
                      <a:pt x="579" y="43"/>
                    </a:cubicBezTo>
                    <a:cubicBezTo>
                      <a:pt x="573" y="40"/>
                      <a:pt x="569" y="50"/>
                      <a:pt x="565" y="41"/>
                    </a:cubicBezTo>
                    <a:cubicBezTo>
                      <a:pt x="560" y="29"/>
                      <a:pt x="553" y="29"/>
                      <a:pt x="546" y="40"/>
                    </a:cubicBezTo>
                    <a:cubicBezTo>
                      <a:pt x="544" y="42"/>
                      <a:pt x="541" y="43"/>
                      <a:pt x="539" y="42"/>
                    </a:cubicBezTo>
                    <a:cubicBezTo>
                      <a:pt x="534" y="39"/>
                      <a:pt x="541" y="38"/>
                      <a:pt x="541" y="36"/>
                    </a:cubicBezTo>
                    <a:cubicBezTo>
                      <a:pt x="542" y="30"/>
                      <a:pt x="540" y="27"/>
                      <a:pt x="533" y="27"/>
                    </a:cubicBezTo>
                    <a:cubicBezTo>
                      <a:pt x="531" y="27"/>
                      <a:pt x="527" y="29"/>
                      <a:pt x="525" y="24"/>
                    </a:cubicBezTo>
                    <a:cubicBezTo>
                      <a:pt x="520" y="11"/>
                      <a:pt x="510" y="9"/>
                      <a:pt x="498" y="9"/>
                    </a:cubicBezTo>
                    <a:cubicBezTo>
                      <a:pt x="489" y="9"/>
                      <a:pt x="480" y="10"/>
                      <a:pt x="471" y="5"/>
                    </a:cubicBezTo>
                    <a:cubicBezTo>
                      <a:pt x="462" y="0"/>
                      <a:pt x="450" y="3"/>
                      <a:pt x="440" y="6"/>
                    </a:cubicBezTo>
                    <a:cubicBezTo>
                      <a:pt x="431" y="10"/>
                      <a:pt x="442" y="16"/>
                      <a:pt x="439" y="20"/>
                    </a:cubicBezTo>
                    <a:cubicBezTo>
                      <a:pt x="437" y="21"/>
                      <a:pt x="437" y="23"/>
                      <a:pt x="436" y="25"/>
                    </a:cubicBezTo>
                    <a:cubicBezTo>
                      <a:pt x="433" y="32"/>
                      <a:pt x="426" y="39"/>
                      <a:pt x="425" y="44"/>
                    </a:cubicBezTo>
                    <a:cubicBezTo>
                      <a:pt x="423" y="58"/>
                      <a:pt x="446" y="53"/>
                      <a:pt x="446" y="68"/>
                    </a:cubicBezTo>
                    <a:cubicBezTo>
                      <a:pt x="446" y="70"/>
                      <a:pt x="452" y="69"/>
                      <a:pt x="456" y="68"/>
                    </a:cubicBezTo>
                    <a:cubicBezTo>
                      <a:pt x="469" y="64"/>
                      <a:pt x="479" y="58"/>
                      <a:pt x="485" y="46"/>
                    </a:cubicBezTo>
                    <a:cubicBezTo>
                      <a:pt x="488" y="42"/>
                      <a:pt x="491" y="37"/>
                      <a:pt x="498" y="37"/>
                    </a:cubicBezTo>
                    <a:cubicBezTo>
                      <a:pt x="490" y="57"/>
                      <a:pt x="491" y="60"/>
                      <a:pt x="510" y="64"/>
                    </a:cubicBezTo>
                    <a:cubicBezTo>
                      <a:pt x="506" y="67"/>
                      <a:pt x="503" y="69"/>
                      <a:pt x="498" y="72"/>
                    </a:cubicBezTo>
                    <a:cubicBezTo>
                      <a:pt x="518" y="82"/>
                      <a:pt x="541" y="68"/>
                      <a:pt x="559" y="84"/>
                    </a:cubicBezTo>
                    <a:cubicBezTo>
                      <a:pt x="541" y="83"/>
                      <a:pt x="524" y="83"/>
                      <a:pt x="508" y="89"/>
                    </a:cubicBezTo>
                    <a:cubicBezTo>
                      <a:pt x="512" y="99"/>
                      <a:pt x="520" y="99"/>
                      <a:pt x="528" y="101"/>
                    </a:cubicBezTo>
                    <a:cubicBezTo>
                      <a:pt x="518" y="101"/>
                      <a:pt x="509" y="102"/>
                      <a:pt x="498" y="98"/>
                    </a:cubicBezTo>
                    <a:cubicBezTo>
                      <a:pt x="486" y="93"/>
                      <a:pt x="472" y="86"/>
                      <a:pt x="457" y="91"/>
                    </a:cubicBezTo>
                    <a:cubicBezTo>
                      <a:pt x="450" y="90"/>
                      <a:pt x="443" y="90"/>
                      <a:pt x="436" y="89"/>
                    </a:cubicBezTo>
                    <a:cubicBezTo>
                      <a:pt x="432" y="83"/>
                      <a:pt x="428" y="84"/>
                      <a:pt x="424" y="90"/>
                    </a:cubicBezTo>
                    <a:cubicBezTo>
                      <a:pt x="422" y="90"/>
                      <a:pt x="420" y="90"/>
                      <a:pt x="418" y="90"/>
                    </a:cubicBezTo>
                    <a:cubicBezTo>
                      <a:pt x="417" y="86"/>
                      <a:pt x="413" y="84"/>
                      <a:pt x="409" y="84"/>
                    </a:cubicBezTo>
                    <a:cubicBezTo>
                      <a:pt x="409" y="82"/>
                      <a:pt x="407" y="82"/>
                      <a:pt x="406" y="82"/>
                    </a:cubicBezTo>
                    <a:cubicBezTo>
                      <a:pt x="401" y="77"/>
                      <a:pt x="398" y="78"/>
                      <a:pt x="395" y="84"/>
                    </a:cubicBezTo>
                    <a:cubicBezTo>
                      <a:pt x="395" y="83"/>
                      <a:pt x="394" y="84"/>
                      <a:pt x="394" y="85"/>
                    </a:cubicBezTo>
                    <a:cubicBezTo>
                      <a:pt x="388" y="88"/>
                      <a:pt x="382" y="83"/>
                      <a:pt x="376" y="85"/>
                    </a:cubicBezTo>
                    <a:cubicBezTo>
                      <a:pt x="372" y="85"/>
                      <a:pt x="368" y="85"/>
                      <a:pt x="364" y="85"/>
                    </a:cubicBezTo>
                    <a:cubicBezTo>
                      <a:pt x="359" y="91"/>
                      <a:pt x="349" y="88"/>
                      <a:pt x="346" y="96"/>
                    </a:cubicBezTo>
                    <a:cubicBezTo>
                      <a:pt x="344" y="96"/>
                      <a:pt x="342" y="96"/>
                      <a:pt x="340" y="97"/>
                    </a:cubicBezTo>
                    <a:cubicBezTo>
                      <a:pt x="333" y="96"/>
                      <a:pt x="326" y="94"/>
                      <a:pt x="322" y="102"/>
                    </a:cubicBezTo>
                    <a:cubicBezTo>
                      <a:pt x="321" y="102"/>
                      <a:pt x="320" y="103"/>
                      <a:pt x="319" y="103"/>
                    </a:cubicBezTo>
                    <a:cubicBezTo>
                      <a:pt x="312" y="102"/>
                      <a:pt x="305" y="101"/>
                      <a:pt x="298" y="97"/>
                    </a:cubicBezTo>
                    <a:cubicBezTo>
                      <a:pt x="291" y="93"/>
                      <a:pt x="284" y="87"/>
                      <a:pt x="274" y="91"/>
                    </a:cubicBezTo>
                    <a:cubicBezTo>
                      <a:pt x="270" y="90"/>
                      <a:pt x="266" y="90"/>
                      <a:pt x="262" y="90"/>
                    </a:cubicBezTo>
                    <a:cubicBezTo>
                      <a:pt x="259" y="83"/>
                      <a:pt x="253" y="84"/>
                      <a:pt x="247" y="85"/>
                    </a:cubicBezTo>
                    <a:cubicBezTo>
                      <a:pt x="234" y="85"/>
                      <a:pt x="221" y="84"/>
                      <a:pt x="208" y="84"/>
                    </a:cubicBezTo>
                    <a:cubicBezTo>
                      <a:pt x="206" y="80"/>
                      <a:pt x="204" y="78"/>
                      <a:pt x="199" y="79"/>
                    </a:cubicBezTo>
                    <a:cubicBezTo>
                      <a:pt x="179" y="79"/>
                      <a:pt x="160" y="77"/>
                      <a:pt x="141" y="71"/>
                    </a:cubicBezTo>
                    <a:cubicBezTo>
                      <a:pt x="139" y="68"/>
                      <a:pt x="137" y="65"/>
                      <a:pt x="133" y="69"/>
                    </a:cubicBezTo>
                    <a:cubicBezTo>
                      <a:pt x="118" y="63"/>
                      <a:pt x="103" y="65"/>
                      <a:pt x="88" y="73"/>
                    </a:cubicBezTo>
                    <a:cubicBezTo>
                      <a:pt x="78" y="71"/>
                      <a:pt x="70" y="75"/>
                      <a:pt x="65" y="83"/>
                    </a:cubicBezTo>
                    <a:cubicBezTo>
                      <a:pt x="63" y="84"/>
                      <a:pt x="60" y="85"/>
                      <a:pt x="58" y="85"/>
                    </a:cubicBezTo>
                    <a:cubicBezTo>
                      <a:pt x="47" y="83"/>
                      <a:pt x="48" y="93"/>
                      <a:pt x="44" y="98"/>
                    </a:cubicBezTo>
                    <a:cubicBezTo>
                      <a:pt x="38" y="102"/>
                      <a:pt x="34" y="110"/>
                      <a:pt x="25" y="109"/>
                    </a:cubicBezTo>
                    <a:cubicBezTo>
                      <a:pt x="16" y="107"/>
                      <a:pt x="13" y="115"/>
                      <a:pt x="17" y="119"/>
                    </a:cubicBezTo>
                    <a:cubicBezTo>
                      <a:pt x="25" y="129"/>
                      <a:pt x="31" y="142"/>
                      <a:pt x="46" y="143"/>
                    </a:cubicBezTo>
                    <a:cubicBezTo>
                      <a:pt x="48" y="143"/>
                      <a:pt x="50" y="144"/>
                      <a:pt x="52" y="144"/>
                    </a:cubicBezTo>
                    <a:cubicBezTo>
                      <a:pt x="55" y="147"/>
                      <a:pt x="56" y="151"/>
                      <a:pt x="53" y="155"/>
                    </a:cubicBezTo>
                    <a:cubicBezTo>
                      <a:pt x="52" y="156"/>
                      <a:pt x="50" y="157"/>
                      <a:pt x="49" y="156"/>
                    </a:cubicBezTo>
                    <a:cubicBezTo>
                      <a:pt x="36" y="144"/>
                      <a:pt x="23" y="152"/>
                      <a:pt x="10" y="156"/>
                    </a:cubicBezTo>
                    <a:cubicBezTo>
                      <a:pt x="3" y="159"/>
                      <a:pt x="0" y="164"/>
                      <a:pt x="6" y="171"/>
                    </a:cubicBezTo>
                    <a:cubicBezTo>
                      <a:pt x="5" y="175"/>
                      <a:pt x="6" y="177"/>
                      <a:pt x="10" y="178"/>
                    </a:cubicBezTo>
                    <a:cubicBezTo>
                      <a:pt x="26" y="193"/>
                      <a:pt x="43" y="186"/>
                      <a:pt x="61" y="183"/>
                    </a:cubicBezTo>
                    <a:cubicBezTo>
                      <a:pt x="62" y="183"/>
                      <a:pt x="63" y="183"/>
                      <a:pt x="64" y="183"/>
                    </a:cubicBezTo>
                    <a:cubicBezTo>
                      <a:pt x="64" y="186"/>
                      <a:pt x="64" y="189"/>
                      <a:pt x="64" y="192"/>
                    </a:cubicBezTo>
                    <a:cubicBezTo>
                      <a:pt x="60" y="199"/>
                      <a:pt x="50" y="197"/>
                      <a:pt x="46" y="204"/>
                    </a:cubicBezTo>
                    <a:cubicBezTo>
                      <a:pt x="43" y="204"/>
                      <a:pt x="40" y="205"/>
                      <a:pt x="37" y="205"/>
                    </a:cubicBezTo>
                    <a:cubicBezTo>
                      <a:pt x="28" y="209"/>
                      <a:pt x="19" y="213"/>
                      <a:pt x="19" y="225"/>
                    </a:cubicBezTo>
                    <a:cubicBezTo>
                      <a:pt x="19" y="227"/>
                      <a:pt x="19" y="229"/>
                      <a:pt x="19" y="231"/>
                    </a:cubicBezTo>
                    <a:cubicBezTo>
                      <a:pt x="16" y="239"/>
                      <a:pt x="23" y="241"/>
                      <a:pt x="27" y="245"/>
                    </a:cubicBezTo>
                    <a:cubicBezTo>
                      <a:pt x="28" y="246"/>
                      <a:pt x="29" y="248"/>
                      <a:pt x="29" y="249"/>
                    </a:cubicBezTo>
                    <a:cubicBezTo>
                      <a:pt x="29" y="254"/>
                      <a:pt x="31" y="257"/>
                      <a:pt x="37" y="257"/>
                    </a:cubicBezTo>
                    <a:cubicBezTo>
                      <a:pt x="38" y="257"/>
                      <a:pt x="40" y="258"/>
                      <a:pt x="41" y="258"/>
                    </a:cubicBezTo>
                    <a:cubicBezTo>
                      <a:pt x="51" y="258"/>
                      <a:pt x="61" y="256"/>
                      <a:pt x="59" y="271"/>
                    </a:cubicBezTo>
                    <a:cubicBezTo>
                      <a:pt x="58" y="275"/>
                      <a:pt x="63" y="276"/>
                      <a:pt x="67" y="276"/>
                    </a:cubicBezTo>
                    <a:cubicBezTo>
                      <a:pt x="73" y="276"/>
                      <a:pt x="79" y="276"/>
                      <a:pt x="86" y="276"/>
                    </a:cubicBezTo>
                    <a:cubicBezTo>
                      <a:pt x="90" y="276"/>
                      <a:pt x="94" y="275"/>
                      <a:pt x="96" y="280"/>
                    </a:cubicBezTo>
                    <a:cubicBezTo>
                      <a:pt x="99" y="284"/>
                      <a:pt x="95" y="287"/>
                      <a:pt x="92" y="290"/>
                    </a:cubicBezTo>
                    <a:cubicBezTo>
                      <a:pt x="89" y="294"/>
                      <a:pt x="85" y="298"/>
                      <a:pt x="82" y="302"/>
                    </a:cubicBezTo>
                    <a:cubicBezTo>
                      <a:pt x="78" y="303"/>
                      <a:pt x="78" y="306"/>
                      <a:pt x="77" y="309"/>
                    </a:cubicBezTo>
                    <a:cubicBezTo>
                      <a:pt x="76" y="311"/>
                      <a:pt x="73" y="314"/>
                      <a:pt x="75" y="314"/>
                    </a:cubicBezTo>
                    <a:cubicBezTo>
                      <a:pt x="81" y="315"/>
                      <a:pt x="87" y="320"/>
                      <a:pt x="94" y="316"/>
                    </a:cubicBezTo>
                    <a:cubicBezTo>
                      <a:pt x="97" y="317"/>
                      <a:pt x="98" y="314"/>
                      <a:pt x="99" y="312"/>
                    </a:cubicBezTo>
                    <a:cubicBezTo>
                      <a:pt x="100" y="311"/>
                      <a:pt x="100" y="311"/>
                      <a:pt x="100" y="311"/>
                    </a:cubicBezTo>
                    <a:cubicBezTo>
                      <a:pt x="103" y="311"/>
                      <a:pt x="105" y="309"/>
                      <a:pt x="106" y="306"/>
                    </a:cubicBezTo>
                    <a:cubicBezTo>
                      <a:pt x="108" y="305"/>
                      <a:pt x="110" y="305"/>
                      <a:pt x="112" y="304"/>
                    </a:cubicBezTo>
                    <a:cubicBezTo>
                      <a:pt x="116" y="305"/>
                      <a:pt x="116" y="302"/>
                      <a:pt x="117" y="300"/>
                    </a:cubicBezTo>
                    <a:cubicBezTo>
                      <a:pt x="121" y="297"/>
                      <a:pt x="126" y="295"/>
                      <a:pt x="130" y="292"/>
                    </a:cubicBezTo>
                    <a:cubicBezTo>
                      <a:pt x="133" y="297"/>
                      <a:pt x="138" y="297"/>
                      <a:pt x="143" y="297"/>
                    </a:cubicBezTo>
                    <a:cubicBezTo>
                      <a:pt x="155" y="298"/>
                      <a:pt x="154" y="287"/>
                      <a:pt x="156" y="281"/>
                    </a:cubicBezTo>
                    <a:cubicBezTo>
                      <a:pt x="159" y="271"/>
                      <a:pt x="151" y="279"/>
                      <a:pt x="149" y="278"/>
                    </a:cubicBezTo>
                    <a:cubicBezTo>
                      <a:pt x="145" y="275"/>
                      <a:pt x="145" y="271"/>
                      <a:pt x="147" y="267"/>
                    </a:cubicBezTo>
                    <a:cubicBezTo>
                      <a:pt x="147" y="266"/>
                      <a:pt x="147" y="265"/>
                      <a:pt x="148" y="264"/>
                    </a:cubicBezTo>
                    <a:cubicBezTo>
                      <a:pt x="150" y="262"/>
                      <a:pt x="153" y="261"/>
                      <a:pt x="153" y="258"/>
                    </a:cubicBezTo>
                    <a:cubicBezTo>
                      <a:pt x="154" y="257"/>
                      <a:pt x="154" y="257"/>
                      <a:pt x="154" y="257"/>
                    </a:cubicBezTo>
                    <a:cubicBezTo>
                      <a:pt x="156" y="257"/>
                      <a:pt x="159" y="255"/>
                      <a:pt x="161" y="258"/>
                    </a:cubicBezTo>
                    <a:cubicBezTo>
                      <a:pt x="160" y="261"/>
                      <a:pt x="161" y="263"/>
                      <a:pt x="164" y="264"/>
                    </a:cubicBezTo>
                    <a:cubicBezTo>
                      <a:pt x="168" y="268"/>
                      <a:pt x="173" y="274"/>
                      <a:pt x="178" y="264"/>
                    </a:cubicBezTo>
                    <a:cubicBezTo>
                      <a:pt x="188" y="260"/>
                      <a:pt x="204" y="262"/>
                      <a:pt x="202" y="243"/>
                    </a:cubicBezTo>
                    <a:cubicBezTo>
                      <a:pt x="215" y="249"/>
                      <a:pt x="229" y="254"/>
                      <a:pt x="244" y="252"/>
                    </a:cubicBezTo>
                    <a:cubicBezTo>
                      <a:pt x="244" y="252"/>
                      <a:pt x="244" y="252"/>
                      <a:pt x="244" y="252"/>
                    </a:cubicBezTo>
                    <a:cubicBezTo>
                      <a:pt x="245" y="253"/>
                      <a:pt x="247" y="255"/>
                      <a:pt x="249" y="253"/>
                    </a:cubicBezTo>
                    <a:cubicBezTo>
                      <a:pt x="252" y="255"/>
                      <a:pt x="254" y="253"/>
                      <a:pt x="257" y="253"/>
                    </a:cubicBezTo>
                    <a:cubicBezTo>
                      <a:pt x="259" y="256"/>
                      <a:pt x="261" y="258"/>
                      <a:pt x="265" y="257"/>
                    </a:cubicBezTo>
                    <a:cubicBezTo>
                      <a:pt x="268" y="257"/>
                      <a:pt x="271" y="258"/>
                      <a:pt x="274" y="258"/>
                    </a:cubicBezTo>
                    <a:cubicBezTo>
                      <a:pt x="279" y="264"/>
                      <a:pt x="283" y="270"/>
                      <a:pt x="292" y="270"/>
                    </a:cubicBezTo>
                    <a:cubicBezTo>
                      <a:pt x="293" y="271"/>
                      <a:pt x="294" y="272"/>
                      <a:pt x="295" y="273"/>
                    </a:cubicBezTo>
                    <a:cubicBezTo>
                      <a:pt x="299" y="277"/>
                      <a:pt x="301" y="282"/>
                      <a:pt x="308" y="280"/>
                    </a:cubicBezTo>
                    <a:cubicBezTo>
                      <a:pt x="315" y="278"/>
                      <a:pt x="318" y="283"/>
                      <a:pt x="318" y="289"/>
                    </a:cubicBezTo>
                    <a:cubicBezTo>
                      <a:pt x="318" y="303"/>
                      <a:pt x="326" y="300"/>
                      <a:pt x="334" y="298"/>
                    </a:cubicBezTo>
                    <a:cubicBezTo>
                      <a:pt x="335" y="299"/>
                      <a:pt x="336" y="299"/>
                      <a:pt x="337" y="300"/>
                    </a:cubicBezTo>
                    <a:cubicBezTo>
                      <a:pt x="337" y="304"/>
                      <a:pt x="337" y="308"/>
                      <a:pt x="343" y="306"/>
                    </a:cubicBezTo>
                    <a:cubicBezTo>
                      <a:pt x="346" y="306"/>
                      <a:pt x="349" y="306"/>
                      <a:pt x="352" y="306"/>
                    </a:cubicBezTo>
                    <a:cubicBezTo>
                      <a:pt x="345" y="326"/>
                      <a:pt x="345" y="326"/>
                      <a:pt x="366" y="328"/>
                    </a:cubicBezTo>
                    <a:cubicBezTo>
                      <a:pt x="368" y="328"/>
                      <a:pt x="369" y="329"/>
                      <a:pt x="370" y="330"/>
                    </a:cubicBezTo>
                    <a:cubicBezTo>
                      <a:pt x="370" y="330"/>
                      <a:pt x="370" y="330"/>
                      <a:pt x="370" y="330"/>
                    </a:cubicBezTo>
                    <a:cubicBezTo>
                      <a:pt x="372" y="343"/>
                      <a:pt x="380" y="350"/>
                      <a:pt x="391" y="356"/>
                    </a:cubicBezTo>
                    <a:cubicBezTo>
                      <a:pt x="392" y="357"/>
                      <a:pt x="393" y="359"/>
                      <a:pt x="395" y="360"/>
                    </a:cubicBezTo>
                    <a:cubicBezTo>
                      <a:pt x="396" y="365"/>
                      <a:pt x="403" y="368"/>
                      <a:pt x="397" y="375"/>
                    </a:cubicBezTo>
                    <a:cubicBezTo>
                      <a:pt x="394" y="379"/>
                      <a:pt x="394" y="391"/>
                      <a:pt x="398" y="393"/>
                    </a:cubicBezTo>
                    <a:cubicBezTo>
                      <a:pt x="416" y="402"/>
                      <a:pt x="425" y="417"/>
                      <a:pt x="436" y="432"/>
                    </a:cubicBezTo>
                    <a:cubicBezTo>
                      <a:pt x="437" y="462"/>
                      <a:pt x="434" y="492"/>
                      <a:pt x="438" y="522"/>
                    </a:cubicBezTo>
                    <a:cubicBezTo>
                      <a:pt x="443" y="535"/>
                      <a:pt x="446" y="549"/>
                      <a:pt x="460" y="557"/>
                    </a:cubicBezTo>
                    <a:cubicBezTo>
                      <a:pt x="460" y="558"/>
                      <a:pt x="461" y="560"/>
                      <a:pt x="462" y="561"/>
                    </a:cubicBezTo>
                    <a:cubicBezTo>
                      <a:pt x="465" y="574"/>
                      <a:pt x="475" y="581"/>
                      <a:pt x="485" y="587"/>
                    </a:cubicBezTo>
                    <a:cubicBezTo>
                      <a:pt x="495" y="593"/>
                      <a:pt x="503" y="600"/>
                      <a:pt x="508" y="609"/>
                    </a:cubicBezTo>
                    <a:cubicBezTo>
                      <a:pt x="520" y="632"/>
                      <a:pt x="531" y="656"/>
                      <a:pt x="551" y="674"/>
                    </a:cubicBezTo>
                    <a:cubicBezTo>
                      <a:pt x="553" y="676"/>
                      <a:pt x="556" y="679"/>
                      <a:pt x="556" y="681"/>
                    </a:cubicBezTo>
                    <a:cubicBezTo>
                      <a:pt x="554" y="694"/>
                      <a:pt x="563" y="694"/>
                      <a:pt x="572" y="695"/>
                    </a:cubicBezTo>
                    <a:cubicBezTo>
                      <a:pt x="572" y="695"/>
                      <a:pt x="572" y="695"/>
                      <a:pt x="572" y="695"/>
                    </a:cubicBezTo>
                    <a:cubicBezTo>
                      <a:pt x="574" y="697"/>
                      <a:pt x="575" y="698"/>
                      <a:pt x="576" y="701"/>
                    </a:cubicBezTo>
                    <a:cubicBezTo>
                      <a:pt x="578" y="704"/>
                      <a:pt x="581" y="707"/>
                      <a:pt x="584" y="704"/>
                    </a:cubicBezTo>
                    <a:cubicBezTo>
                      <a:pt x="588" y="701"/>
                      <a:pt x="583" y="698"/>
                      <a:pt x="582" y="694"/>
                    </a:cubicBezTo>
                    <a:cubicBezTo>
                      <a:pt x="582" y="693"/>
                      <a:pt x="577" y="693"/>
                      <a:pt x="574" y="693"/>
                    </a:cubicBezTo>
                    <a:cubicBezTo>
                      <a:pt x="574" y="689"/>
                      <a:pt x="574" y="685"/>
                      <a:pt x="574" y="681"/>
                    </a:cubicBezTo>
                    <a:cubicBezTo>
                      <a:pt x="574" y="678"/>
                      <a:pt x="572" y="673"/>
                      <a:pt x="575" y="671"/>
                    </a:cubicBezTo>
                    <a:cubicBezTo>
                      <a:pt x="580" y="669"/>
                      <a:pt x="582" y="674"/>
                      <a:pt x="584" y="677"/>
                    </a:cubicBezTo>
                    <a:cubicBezTo>
                      <a:pt x="597" y="689"/>
                      <a:pt x="610" y="701"/>
                      <a:pt x="622" y="714"/>
                    </a:cubicBezTo>
                    <a:cubicBezTo>
                      <a:pt x="622" y="721"/>
                      <a:pt x="623" y="728"/>
                      <a:pt x="623" y="735"/>
                    </a:cubicBezTo>
                    <a:cubicBezTo>
                      <a:pt x="624" y="747"/>
                      <a:pt x="640" y="760"/>
                      <a:pt x="655" y="761"/>
                    </a:cubicBezTo>
                    <a:cubicBezTo>
                      <a:pt x="655" y="761"/>
                      <a:pt x="655" y="761"/>
                      <a:pt x="655" y="761"/>
                    </a:cubicBezTo>
                    <a:cubicBezTo>
                      <a:pt x="656" y="762"/>
                      <a:pt x="658" y="762"/>
                      <a:pt x="659" y="763"/>
                    </a:cubicBezTo>
                    <a:cubicBezTo>
                      <a:pt x="661" y="769"/>
                      <a:pt x="668" y="769"/>
                      <a:pt x="672" y="770"/>
                    </a:cubicBezTo>
                    <a:cubicBezTo>
                      <a:pt x="688" y="774"/>
                      <a:pt x="702" y="785"/>
                      <a:pt x="719" y="780"/>
                    </a:cubicBezTo>
                    <a:cubicBezTo>
                      <a:pt x="723" y="780"/>
                      <a:pt x="726" y="780"/>
                      <a:pt x="730" y="779"/>
                    </a:cubicBezTo>
                    <a:cubicBezTo>
                      <a:pt x="740" y="781"/>
                      <a:pt x="745" y="790"/>
                      <a:pt x="751" y="796"/>
                    </a:cubicBezTo>
                    <a:cubicBezTo>
                      <a:pt x="756" y="801"/>
                      <a:pt x="761" y="805"/>
                      <a:pt x="769" y="803"/>
                    </a:cubicBezTo>
                    <a:cubicBezTo>
                      <a:pt x="772" y="804"/>
                      <a:pt x="775" y="804"/>
                      <a:pt x="778" y="804"/>
                    </a:cubicBezTo>
                    <a:cubicBezTo>
                      <a:pt x="780" y="810"/>
                      <a:pt x="785" y="810"/>
                      <a:pt x="790" y="809"/>
                    </a:cubicBezTo>
                    <a:cubicBezTo>
                      <a:pt x="792" y="809"/>
                      <a:pt x="794" y="810"/>
                      <a:pt x="796" y="810"/>
                    </a:cubicBezTo>
                    <a:cubicBezTo>
                      <a:pt x="798" y="814"/>
                      <a:pt x="800" y="816"/>
                      <a:pt x="804" y="817"/>
                    </a:cubicBezTo>
                    <a:cubicBezTo>
                      <a:pt x="810" y="826"/>
                      <a:pt x="816" y="837"/>
                      <a:pt x="823" y="843"/>
                    </a:cubicBezTo>
                    <a:cubicBezTo>
                      <a:pt x="832" y="851"/>
                      <a:pt x="843" y="860"/>
                      <a:pt x="855" y="862"/>
                    </a:cubicBezTo>
                    <a:cubicBezTo>
                      <a:pt x="861" y="864"/>
                      <a:pt x="876" y="879"/>
                      <a:pt x="879" y="856"/>
                    </a:cubicBezTo>
                    <a:cubicBezTo>
                      <a:pt x="879" y="854"/>
                      <a:pt x="890" y="845"/>
                      <a:pt x="893" y="855"/>
                    </a:cubicBezTo>
                    <a:cubicBezTo>
                      <a:pt x="895" y="864"/>
                      <a:pt x="901" y="869"/>
                      <a:pt x="904" y="876"/>
                    </a:cubicBezTo>
                    <a:cubicBezTo>
                      <a:pt x="909" y="889"/>
                      <a:pt x="906" y="906"/>
                      <a:pt x="896" y="916"/>
                    </a:cubicBezTo>
                    <a:cubicBezTo>
                      <a:pt x="890" y="921"/>
                      <a:pt x="890" y="926"/>
                      <a:pt x="896" y="931"/>
                    </a:cubicBezTo>
                    <a:cubicBezTo>
                      <a:pt x="900" y="934"/>
                      <a:pt x="905" y="938"/>
                      <a:pt x="910" y="938"/>
                    </a:cubicBezTo>
                    <a:cubicBezTo>
                      <a:pt x="918" y="939"/>
                      <a:pt x="924" y="942"/>
                      <a:pt x="925" y="950"/>
                    </a:cubicBezTo>
                    <a:cubicBezTo>
                      <a:pt x="925" y="959"/>
                      <a:pt x="918" y="966"/>
                      <a:pt x="910" y="968"/>
                    </a:cubicBezTo>
                    <a:cubicBezTo>
                      <a:pt x="901" y="971"/>
                      <a:pt x="896" y="974"/>
                      <a:pt x="893" y="983"/>
                    </a:cubicBezTo>
                    <a:cubicBezTo>
                      <a:pt x="890" y="992"/>
                      <a:pt x="883" y="989"/>
                      <a:pt x="877" y="984"/>
                    </a:cubicBezTo>
                    <a:cubicBezTo>
                      <a:pt x="876" y="982"/>
                      <a:pt x="877" y="976"/>
                      <a:pt x="872" y="978"/>
                    </a:cubicBezTo>
                    <a:cubicBezTo>
                      <a:pt x="869" y="980"/>
                      <a:pt x="866" y="983"/>
                      <a:pt x="867" y="987"/>
                    </a:cubicBezTo>
                    <a:cubicBezTo>
                      <a:pt x="869" y="993"/>
                      <a:pt x="867" y="1001"/>
                      <a:pt x="873" y="1006"/>
                    </a:cubicBezTo>
                    <a:cubicBezTo>
                      <a:pt x="889" y="1019"/>
                      <a:pt x="894" y="1040"/>
                      <a:pt x="905" y="1057"/>
                    </a:cubicBezTo>
                    <a:cubicBezTo>
                      <a:pt x="915" y="1075"/>
                      <a:pt x="918" y="1099"/>
                      <a:pt x="943" y="1105"/>
                    </a:cubicBezTo>
                    <a:cubicBezTo>
                      <a:pt x="945" y="1105"/>
                      <a:pt x="946" y="1106"/>
                      <a:pt x="948" y="1107"/>
                    </a:cubicBezTo>
                    <a:cubicBezTo>
                      <a:pt x="973" y="1119"/>
                      <a:pt x="981" y="1133"/>
                      <a:pt x="979" y="1158"/>
                    </a:cubicBezTo>
                    <a:cubicBezTo>
                      <a:pt x="978" y="1162"/>
                      <a:pt x="977" y="1167"/>
                      <a:pt x="976" y="1171"/>
                    </a:cubicBezTo>
                    <a:cubicBezTo>
                      <a:pt x="972" y="1197"/>
                      <a:pt x="968" y="1223"/>
                      <a:pt x="965" y="1249"/>
                    </a:cubicBezTo>
                    <a:cubicBezTo>
                      <a:pt x="963" y="1274"/>
                      <a:pt x="961" y="1299"/>
                      <a:pt x="949" y="1322"/>
                    </a:cubicBezTo>
                    <a:cubicBezTo>
                      <a:pt x="945" y="1331"/>
                      <a:pt x="940" y="1339"/>
                      <a:pt x="943" y="1349"/>
                    </a:cubicBezTo>
                    <a:cubicBezTo>
                      <a:pt x="946" y="1357"/>
                      <a:pt x="943" y="1365"/>
                      <a:pt x="942" y="1374"/>
                    </a:cubicBezTo>
                    <a:cubicBezTo>
                      <a:pt x="940" y="1384"/>
                      <a:pt x="933" y="1395"/>
                      <a:pt x="939" y="1407"/>
                    </a:cubicBezTo>
                    <a:cubicBezTo>
                      <a:pt x="945" y="1403"/>
                      <a:pt x="942" y="1398"/>
                      <a:pt x="943" y="1394"/>
                    </a:cubicBezTo>
                    <a:cubicBezTo>
                      <a:pt x="944" y="1391"/>
                      <a:pt x="941" y="1386"/>
                      <a:pt x="947" y="1386"/>
                    </a:cubicBezTo>
                    <a:cubicBezTo>
                      <a:pt x="952" y="1387"/>
                      <a:pt x="952" y="1392"/>
                      <a:pt x="951" y="1396"/>
                    </a:cubicBezTo>
                    <a:cubicBezTo>
                      <a:pt x="949" y="1407"/>
                      <a:pt x="946" y="1417"/>
                      <a:pt x="946" y="1428"/>
                    </a:cubicBezTo>
                    <a:cubicBezTo>
                      <a:pt x="946" y="1431"/>
                      <a:pt x="946" y="1440"/>
                      <a:pt x="936" y="1435"/>
                    </a:cubicBezTo>
                    <a:cubicBezTo>
                      <a:pt x="931" y="1432"/>
                      <a:pt x="929" y="1438"/>
                      <a:pt x="927" y="1442"/>
                    </a:cubicBezTo>
                    <a:cubicBezTo>
                      <a:pt x="925" y="1447"/>
                      <a:pt x="928" y="1449"/>
                      <a:pt x="932" y="1449"/>
                    </a:cubicBezTo>
                    <a:cubicBezTo>
                      <a:pt x="943" y="1449"/>
                      <a:pt x="928" y="1463"/>
                      <a:pt x="939" y="1463"/>
                    </a:cubicBezTo>
                    <a:cubicBezTo>
                      <a:pt x="936" y="1465"/>
                      <a:pt x="933" y="1467"/>
                      <a:pt x="929" y="1466"/>
                    </a:cubicBezTo>
                    <a:cubicBezTo>
                      <a:pt x="927" y="1466"/>
                      <a:pt x="925" y="1467"/>
                      <a:pt x="924" y="1468"/>
                    </a:cubicBezTo>
                    <a:cubicBezTo>
                      <a:pt x="923" y="1474"/>
                      <a:pt x="934" y="1471"/>
                      <a:pt x="931" y="1479"/>
                    </a:cubicBezTo>
                    <a:cubicBezTo>
                      <a:pt x="928" y="1479"/>
                      <a:pt x="924" y="1479"/>
                      <a:pt x="926" y="1483"/>
                    </a:cubicBezTo>
                    <a:cubicBezTo>
                      <a:pt x="926" y="1485"/>
                      <a:pt x="928" y="1486"/>
                      <a:pt x="929" y="1487"/>
                    </a:cubicBezTo>
                    <a:cubicBezTo>
                      <a:pt x="931" y="1485"/>
                      <a:pt x="932" y="1483"/>
                      <a:pt x="933" y="1481"/>
                    </a:cubicBezTo>
                    <a:cubicBezTo>
                      <a:pt x="933" y="1481"/>
                      <a:pt x="934" y="1481"/>
                      <a:pt x="934" y="1480"/>
                    </a:cubicBezTo>
                    <a:cubicBezTo>
                      <a:pt x="935" y="1480"/>
                      <a:pt x="935" y="1480"/>
                      <a:pt x="936" y="1480"/>
                    </a:cubicBezTo>
                    <a:cubicBezTo>
                      <a:pt x="938" y="1483"/>
                      <a:pt x="937" y="1487"/>
                      <a:pt x="936" y="1490"/>
                    </a:cubicBezTo>
                    <a:cubicBezTo>
                      <a:pt x="935" y="1496"/>
                      <a:pt x="925" y="1501"/>
                      <a:pt x="934" y="1507"/>
                    </a:cubicBezTo>
                    <a:cubicBezTo>
                      <a:pt x="940" y="1510"/>
                      <a:pt x="943" y="1518"/>
                      <a:pt x="951" y="1515"/>
                    </a:cubicBezTo>
                    <a:cubicBezTo>
                      <a:pt x="951" y="1522"/>
                      <a:pt x="944" y="1525"/>
                      <a:pt x="947" y="1532"/>
                    </a:cubicBezTo>
                    <a:cubicBezTo>
                      <a:pt x="952" y="1530"/>
                      <a:pt x="958" y="1526"/>
                      <a:pt x="965" y="1531"/>
                    </a:cubicBezTo>
                    <a:cubicBezTo>
                      <a:pt x="955" y="1531"/>
                      <a:pt x="950" y="1538"/>
                      <a:pt x="943" y="1543"/>
                    </a:cubicBezTo>
                    <a:cubicBezTo>
                      <a:pt x="953" y="1545"/>
                      <a:pt x="962" y="1546"/>
                      <a:pt x="967" y="1535"/>
                    </a:cubicBezTo>
                    <a:cubicBezTo>
                      <a:pt x="968" y="1531"/>
                      <a:pt x="969" y="1528"/>
                      <a:pt x="973" y="1527"/>
                    </a:cubicBezTo>
                    <a:cubicBezTo>
                      <a:pt x="973" y="1533"/>
                      <a:pt x="979" y="1535"/>
                      <a:pt x="980" y="1539"/>
                    </a:cubicBezTo>
                    <a:cubicBezTo>
                      <a:pt x="981" y="1542"/>
                      <a:pt x="977" y="1546"/>
                      <a:pt x="972" y="1546"/>
                    </a:cubicBezTo>
                    <a:cubicBezTo>
                      <a:pt x="969" y="1545"/>
                      <a:pt x="964" y="1543"/>
                      <a:pt x="964" y="1548"/>
                    </a:cubicBezTo>
                    <a:cubicBezTo>
                      <a:pt x="963" y="1551"/>
                      <a:pt x="968" y="1557"/>
                      <a:pt x="970" y="1557"/>
                    </a:cubicBezTo>
                    <a:cubicBezTo>
                      <a:pt x="976" y="1555"/>
                      <a:pt x="979" y="1561"/>
                      <a:pt x="984" y="1562"/>
                    </a:cubicBezTo>
                    <a:cubicBezTo>
                      <a:pt x="999" y="1566"/>
                      <a:pt x="1010" y="1557"/>
                      <a:pt x="1024" y="1556"/>
                    </a:cubicBezTo>
                    <a:cubicBezTo>
                      <a:pt x="1003" y="1545"/>
                      <a:pt x="994" y="1532"/>
                      <a:pt x="990" y="1516"/>
                    </a:cubicBezTo>
                    <a:cubicBezTo>
                      <a:pt x="984" y="1493"/>
                      <a:pt x="1001" y="1485"/>
                      <a:pt x="1011" y="1472"/>
                    </a:cubicBezTo>
                    <a:cubicBezTo>
                      <a:pt x="1017" y="1464"/>
                      <a:pt x="1025" y="1458"/>
                      <a:pt x="1011" y="1449"/>
                    </a:cubicBezTo>
                    <a:cubicBezTo>
                      <a:pt x="1001" y="1443"/>
                      <a:pt x="1000" y="1436"/>
                      <a:pt x="1013" y="1431"/>
                    </a:cubicBezTo>
                    <a:cubicBezTo>
                      <a:pt x="1018" y="1429"/>
                      <a:pt x="1023" y="1424"/>
                      <a:pt x="1024" y="1419"/>
                    </a:cubicBezTo>
                    <a:cubicBezTo>
                      <a:pt x="1025" y="1407"/>
                      <a:pt x="1032" y="1400"/>
                      <a:pt x="1044" y="1395"/>
                    </a:cubicBezTo>
                    <a:cubicBezTo>
                      <a:pt x="1041" y="1393"/>
                      <a:pt x="1039" y="1392"/>
                      <a:pt x="1038" y="1392"/>
                    </a:cubicBezTo>
                    <a:cubicBezTo>
                      <a:pt x="1029" y="1395"/>
                      <a:pt x="1028" y="1390"/>
                      <a:pt x="1027" y="1382"/>
                    </a:cubicBezTo>
                    <a:cubicBezTo>
                      <a:pt x="1027" y="1373"/>
                      <a:pt x="1034" y="1376"/>
                      <a:pt x="1038" y="1377"/>
                    </a:cubicBezTo>
                    <a:cubicBezTo>
                      <a:pt x="1053" y="1383"/>
                      <a:pt x="1056" y="1371"/>
                      <a:pt x="1056" y="1362"/>
                    </a:cubicBezTo>
                    <a:cubicBezTo>
                      <a:pt x="1057" y="1353"/>
                      <a:pt x="1061" y="1352"/>
                      <a:pt x="1067" y="1353"/>
                    </a:cubicBezTo>
                    <a:cubicBezTo>
                      <a:pt x="1077" y="1354"/>
                      <a:pt x="1087" y="1351"/>
                      <a:pt x="1096" y="1347"/>
                    </a:cubicBezTo>
                    <a:cubicBezTo>
                      <a:pt x="1104" y="1343"/>
                      <a:pt x="1114" y="1336"/>
                      <a:pt x="1110" y="1326"/>
                    </a:cubicBezTo>
                    <a:cubicBezTo>
                      <a:pt x="1107" y="1319"/>
                      <a:pt x="1106" y="1311"/>
                      <a:pt x="1101" y="1304"/>
                    </a:cubicBezTo>
                    <a:cubicBezTo>
                      <a:pt x="1105" y="1302"/>
                      <a:pt x="1108" y="1303"/>
                      <a:pt x="1112" y="1304"/>
                    </a:cubicBezTo>
                    <a:cubicBezTo>
                      <a:pt x="1132" y="1309"/>
                      <a:pt x="1143" y="1304"/>
                      <a:pt x="1153" y="1285"/>
                    </a:cubicBezTo>
                    <a:cubicBezTo>
                      <a:pt x="1158" y="1275"/>
                      <a:pt x="1162" y="1264"/>
                      <a:pt x="1169" y="1254"/>
                    </a:cubicBezTo>
                    <a:cubicBezTo>
                      <a:pt x="1170" y="1256"/>
                      <a:pt x="1171" y="1257"/>
                      <a:pt x="1171" y="1259"/>
                    </a:cubicBezTo>
                    <a:cubicBezTo>
                      <a:pt x="1171" y="1260"/>
                      <a:pt x="1171" y="1263"/>
                      <a:pt x="1174" y="1262"/>
                    </a:cubicBezTo>
                    <a:cubicBezTo>
                      <a:pt x="1182" y="1245"/>
                      <a:pt x="1198" y="1231"/>
                      <a:pt x="1195" y="1209"/>
                    </a:cubicBezTo>
                    <a:cubicBezTo>
                      <a:pt x="1194" y="1207"/>
                      <a:pt x="1195" y="1205"/>
                      <a:pt x="1196" y="1204"/>
                    </a:cubicBezTo>
                    <a:cubicBezTo>
                      <a:pt x="1210" y="1190"/>
                      <a:pt x="1227" y="1177"/>
                      <a:pt x="1247" y="1177"/>
                    </a:cubicBezTo>
                    <a:cubicBezTo>
                      <a:pt x="1260" y="1176"/>
                      <a:pt x="1267" y="1171"/>
                      <a:pt x="1271" y="1163"/>
                    </a:cubicBezTo>
                    <a:cubicBezTo>
                      <a:pt x="1284" y="1139"/>
                      <a:pt x="1294" y="1115"/>
                      <a:pt x="1291" y="1087"/>
                    </a:cubicBezTo>
                    <a:cubicBezTo>
                      <a:pt x="1291" y="1081"/>
                      <a:pt x="1290" y="1073"/>
                      <a:pt x="1297" y="1072"/>
                    </a:cubicBezTo>
                    <a:cubicBezTo>
                      <a:pt x="1303" y="1070"/>
                      <a:pt x="1304" y="1065"/>
                      <a:pt x="1306" y="1061"/>
                    </a:cubicBezTo>
                    <a:cubicBezTo>
                      <a:pt x="1310" y="1056"/>
                      <a:pt x="1313" y="1050"/>
                      <a:pt x="1319" y="1046"/>
                    </a:cubicBezTo>
                    <a:cubicBezTo>
                      <a:pt x="1331" y="1038"/>
                      <a:pt x="1335" y="1025"/>
                      <a:pt x="1333" y="1011"/>
                    </a:cubicBezTo>
                    <a:cubicBezTo>
                      <a:pt x="1332" y="1000"/>
                      <a:pt x="1328" y="991"/>
                      <a:pt x="1314" y="992"/>
                    </a:cubicBezTo>
                    <a:close/>
                    <a:moveTo>
                      <a:pt x="718" y="93"/>
                    </a:moveTo>
                    <a:cubicBezTo>
                      <a:pt x="718" y="93"/>
                      <a:pt x="718" y="94"/>
                      <a:pt x="718" y="95"/>
                    </a:cubicBezTo>
                    <a:cubicBezTo>
                      <a:pt x="721" y="98"/>
                      <a:pt x="731" y="92"/>
                      <a:pt x="730" y="102"/>
                    </a:cubicBezTo>
                    <a:cubicBezTo>
                      <a:pt x="736" y="100"/>
                      <a:pt x="736" y="104"/>
                      <a:pt x="737" y="108"/>
                    </a:cubicBezTo>
                    <a:cubicBezTo>
                      <a:pt x="736" y="115"/>
                      <a:pt x="731" y="118"/>
                      <a:pt x="727" y="122"/>
                    </a:cubicBezTo>
                    <a:cubicBezTo>
                      <a:pt x="725" y="124"/>
                      <a:pt x="722" y="128"/>
                      <a:pt x="720" y="125"/>
                    </a:cubicBezTo>
                    <a:cubicBezTo>
                      <a:pt x="717" y="123"/>
                      <a:pt x="717" y="119"/>
                      <a:pt x="716" y="116"/>
                    </a:cubicBezTo>
                    <a:cubicBezTo>
                      <a:pt x="716" y="112"/>
                      <a:pt x="719" y="111"/>
                      <a:pt x="722" y="111"/>
                    </a:cubicBezTo>
                    <a:cubicBezTo>
                      <a:pt x="730" y="112"/>
                      <a:pt x="732" y="109"/>
                      <a:pt x="730" y="102"/>
                    </a:cubicBezTo>
                    <a:cubicBezTo>
                      <a:pt x="726" y="100"/>
                      <a:pt x="716" y="107"/>
                      <a:pt x="718" y="95"/>
                    </a:cubicBezTo>
                    <a:cubicBezTo>
                      <a:pt x="718" y="94"/>
                      <a:pt x="718" y="93"/>
                      <a:pt x="718" y="93"/>
                    </a:cubicBezTo>
                    <a:cubicBezTo>
                      <a:pt x="717" y="92"/>
                      <a:pt x="716" y="91"/>
                      <a:pt x="715" y="90"/>
                    </a:cubicBezTo>
                    <a:cubicBezTo>
                      <a:pt x="716" y="91"/>
                      <a:pt x="717" y="92"/>
                      <a:pt x="718" y="93"/>
                    </a:cubicBezTo>
                    <a:close/>
                    <a:moveTo>
                      <a:pt x="537" y="621"/>
                    </a:moveTo>
                    <a:cubicBezTo>
                      <a:pt x="540" y="616"/>
                      <a:pt x="546" y="616"/>
                      <a:pt x="548" y="619"/>
                    </a:cubicBezTo>
                    <a:cubicBezTo>
                      <a:pt x="552" y="624"/>
                      <a:pt x="551" y="630"/>
                      <a:pt x="547" y="635"/>
                    </a:cubicBezTo>
                    <a:cubicBezTo>
                      <a:pt x="544" y="630"/>
                      <a:pt x="541" y="626"/>
                      <a:pt x="537" y="6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38CB7645-D73B-51B8-001A-A5DB78105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931" y="1311977"/>
                <a:ext cx="1444590" cy="1106350"/>
              </a:xfrm>
              <a:custGeom>
                <a:avLst/>
                <a:gdLst>
                  <a:gd name="T0" fmla="*/ 468 w 606"/>
                  <a:gd name="T1" fmla="*/ 290 h 464"/>
                  <a:gd name="T2" fmla="*/ 506 w 606"/>
                  <a:gd name="T3" fmla="*/ 290 h 464"/>
                  <a:gd name="T4" fmla="*/ 501 w 606"/>
                  <a:gd name="T5" fmla="*/ 265 h 464"/>
                  <a:gd name="T6" fmla="*/ 498 w 606"/>
                  <a:gd name="T7" fmla="*/ 254 h 464"/>
                  <a:gd name="T8" fmla="*/ 499 w 606"/>
                  <a:gd name="T9" fmla="*/ 242 h 464"/>
                  <a:gd name="T10" fmla="*/ 478 w 606"/>
                  <a:gd name="T11" fmla="*/ 241 h 464"/>
                  <a:gd name="T12" fmla="*/ 495 w 606"/>
                  <a:gd name="T13" fmla="*/ 232 h 464"/>
                  <a:gd name="T14" fmla="*/ 522 w 606"/>
                  <a:gd name="T15" fmla="*/ 232 h 464"/>
                  <a:gd name="T16" fmla="*/ 512 w 606"/>
                  <a:gd name="T17" fmla="*/ 219 h 464"/>
                  <a:gd name="T18" fmla="*/ 517 w 606"/>
                  <a:gd name="T19" fmla="*/ 200 h 464"/>
                  <a:gd name="T20" fmla="*/ 537 w 606"/>
                  <a:gd name="T21" fmla="*/ 189 h 464"/>
                  <a:gd name="T22" fmla="*/ 503 w 606"/>
                  <a:gd name="T23" fmla="*/ 166 h 464"/>
                  <a:gd name="T24" fmla="*/ 546 w 606"/>
                  <a:gd name="T25" fmla="*/ 159 h 464"/>
                  <a:gd name="T26" fmla="*/ 523 w 606"/>
                  <a:gd name="T27" fmla="*/ 150 h 464"/>
                  <a:gd name="T28" fmla="*/ 512 w 606"/>
                  <a:gd name="T29" fmla="*/ 145 h 464"/>
                  <a:gd name="T30" fmla="*/ 561 w 606"/>
                  <a:gd name="T31" fmla="*/ 86 h 464"/>
                  <a:gd name="T32" fmla="*/ 606 w 606"/>
                  <a:gd name="T33" fmla="*/ 59 h 464"/>
                  <a:gd name="T34" fmla="*/ 555 w 606"/>
                  <a:gd name="T35" fmla="*/ 55 h 464"/>
                  <a:gd name="T36" fmla="*/ 516 w 606"/>
                  <a:gd name="T37" fmla="*/ 61 h 464"/>
                  <a:gd name="T38" fmla="*/ 502 w 606"/>
                  <a:gd name="T39" fmla="*/ 62 h 464"/>
                  <a:gd name="T40" fmla="*/ 489 w 606"/>
                  <a:gd name="T41" fmla="*/ 50 h 464"/>
                  <a:gd name="T42" fmla="*/ 469 w 606"/>
                  <a:gd name="T43" fmla="*/ 51 h 464"/>
                  <a:gd name="T44" fmla="*/ 410 w 606"/>
                  <a:gd name="T45" fmla="*/ 50 h 464"/>
                  <a:gd name="T46" fmla="*/ 509 w 606"/>
                  <a:gd name="T47" fmla="*/ 32 h 464"/>
                  <a:gd name="T48" fmla="*/ 471 w 606"/>
                  <a:gd name="T49" fmla="*/ 16 h 464"/>
                  <a:gd name="T50" fmla="*/ 441 w 606"/>
                  <a:gd name="T51" fmla="*/ 12 h 464"/>
                  <a:gd name="T52" fmla="*/ 337 w 606"/>
                  <a:gd name="T53" fmla="*/ 19 h 464"/>
                  <a:gd name="T54" fmla="*/ 270 w 606"/>
                  <a:gd name="T55" fmla="*/ 30 h 464"/>
                  <a:gd name="T56" fmla="*/ 263 w 606"/>
                  <a:gd name="T57" fmla="*/ 46 h 464"/>
                  <a:gd name="T58" fmla="*/ 220 w 606"/>
                  <a:gd name="T59" fmla="*/ 36 h 464"/>
                  <a:gd name="T60" fmla="*/ 207 w 606"/>
                  <a:gd name="T61" fmla="*/ 44 h 464"/>
                  <a:gd name="T62" fmla="*/ 192 w 606"/>
                  <a:gd name="T63" fmla="*/ 56 h 464"/>
                  <a:gd name="T64" fmla="*/ 184 w 606"/>
                  <a:gd name="T65" fmla="*/ 39 h 464"/>
                  <a:gd name="T66" fmla="*/ 131 w 606"/>
                  <a:gd name="T67" fmla="*/ 50 h 464"/>
                  <a:gd name="T68" fmla="*/ 103 w 606"/>
                  <a:gd name="T69" fmla="*/ 68 h 464"/>
                  <a:gd name="T70" fmla="*/ 70 w 606"/>
                  <a:gd name="T71" fmla="*/ 92 h 464"/>
                  <a:gd name="T72" fmla="*/ 55 w 606"/>
                  <a:gd name="T73" fmla="*/ 116 h 464"/>
                  <a:gd name="T74" fmla="*/ 0 w 606"/>
                  <a:gd name="T75" fmla="*/ 134 h 464"/>
                  <a:gd name="T76" fmla="*/ 38 w 606"/>
                  <a:gd name="T77" fmla="*/ 150 h 464"/>
                  <a:gd name="T78" fmla="*/ 31 w 606"/>
                  <a:gd name="T79" fmla="*/ 167 h 464"/>
                  <a:gd name="T80" fmla="*/ 74 w 606"/>
                  <a:gd name="T81" fmla="*/ 177 h 464"/>
                  <a:gd name="T82" fmla="*/ 159 w 606"/>
                  <a:gd name="T83" fmla="*/ 212 h 464"/>
                  <a:gd name="T84" fmla="*/ 172 w 606"/>
                  <a:gd name="T85" fmla="*/ 267 h 464"/>
                  <a:gd name="T86" fmla="*/ 194 w 606"/>
                  <a:gd name="T87" fmla="*/ 269 h 464"/>
                  <a:gd name="T88" fmla="*/ 212 w 606"/>
                  <a:gd name="T89" fmla="*/ 286 h 464"/>
                  <a:gd name="T90" fmla="*/ 179 w 606"/>
                  <a:gd name="T91" fmla="*/ 304 h 464"/>
                  <a:gd name="T92" fmla="*/ 199 w 606"/>
                  <a:gd name="T93" fmla="*/ 297 h 464"/>
                  <a:gd name="T94" fmla="*/ 205 w 606"/>
                  <a:gd name="T95" fmla="*/ 321 h 464"/>
                  <a:gd name="T96" fmla="*/ 195 w 606"/>
                  <a:gd name="T97" fmla="*/ 356 h 464"/>
                  <a:gd name="T98" fmla="*/ 210 w 606"/>
                  <a:gd name="T99" fmla="*/ 398 h 464"/>
                  <a:gd name="T100" fmla="*/ 244 w 606"/>
                  <a:gd name="T101" fmla="*/ 445 h 464"/>
                  <a:gd name="T102" fmla="*/ 300 w 606"/>
                  <a:gd name="T103" fmla="*/ 447 h 464"/>
                  <a:gd name="T104" fmla="*/ 320 w 606"/>
                  <a:gd name="T105" fmla="*/ 398 h 464"/>
                  <a:gd name="T106" fmla="*/ 345 w 606"/>
                  <a:gd name="T107" fmla="*/ 363 h 464"/>
                  <a:gd name="T108" fmla="*/ 393 w 606"/>
                  <a:gd name="T109" fmla="*/ 347 h 464"/>
                  <a:gd name="T110" fmla="*/ 460 w 606"/>
                  <a:gd name="T111" fmla="*/ 320 h 464"/>
                  <a:gd name="T112" fmla="*/ 485 w 606"/>
                  <a:gd name="T113" fmla="*/ 295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06" h="464">
                    <a:moveTo>
                      <a:pt x="485" y="295"/>
                    </a:moveTo>
                    <a:cubicBezTo>
                      <a:pt x="480" y="291"/>
                      <a:pt x="474" y="292"/>
                      <a:pt x="468" y="290"/>
                    </a:cubicBezTo>
                    <a:cubicBezTo>
                      <a:pt x="473" y="282"/>
                      <a:pt x="477" y="271"/>
                      <a:pt x="487" y="284"/>
                    </a:cubicBezTo>
                    <a:cubicBezTo>
                      <a:pt x="493" y="291"/>
                      <a:pt x="499" y="291"/>
                      <a:pt x="506" y="290"/>
                    </a:cubicBezTo>
                    <a:cubicBezTo>
                      <a:pt x="511" y="289"/>
                      <a:pt x="510" y="284"/>
                      <a:pt x="510" y="281"/>
                    </a:cubicBezTo>
                    <a:cubicBezTo>
                      <a:pt x="511" y="273"/>
                      <a:pt x="510" y="268"/>
                      <a:pt x="501" y="265"/>
                    </a:cubicBezTo>
                    <a:cubicBezTo>
                      <a:pt x="495" y="264"/>
                      <a:pt x="489" y="259"/>
                      <a:pt x="487" y="251"/>
                    </a:cubicBezTo>
                    <a:cubicBezTo>
                      <a:pt x="492" y="252"/>
                      <a:pt x="495" y="254"/>
                      <a:pt x="498" y="254"/>
                    </a:cubicBezTo>
                    <a:cubicBezTo>
                      <a:pt x="502" y="254"/>
                      <a:pt x="508" y="256"/>
                      <a:pt x="508" y="249"/>
                    </a:cubicBezTo>
                    <a:cubicBezTo>
                      <a:pt x="508" y="243"/>
                      <a:pt x="504" y="241"/>
                      <a:pt x="499" y="242"/>
                    </a:cubicBezTo>
                    <a:cubicBezTo>
                      <a:pt x="494" y="242"/>
                      <a:pt x="489" y="242"/>
                      <a:pt x="484" y="243"/>
                    </a:cubicBezTo>
                    <a:cubicBezTo>
                      <a:pt x="481" y="243"/>
                      <a:pt x="479" y="243"/>
                      <a:pt x="478" y="241"/>
                    </a:cubicBezTo>
                    <a:cubicBezTo>
                      <a:pt x="476" y="237"/>
                      <a:pt x="480" y="237"/>
                      <a:pt x="481" y="236"/>
                    </a:cubicBezTo>
                    <a:cubicBezTo>
                      <a:pt x="485" y="230"/>
                      <a:pt x="490" y="227"/>
                      <a:pt x="495" y="232"/>
                    </a:cubicBezTo>
                    <a:cubicBezTo>
                      <a:pt x="502" y="239"/>
                      <a:pt x="510" y="235"/>
                      <a:pt x="517" y="236"/>
                    </a:cubicBezTo>
                    <a:cubicBezTo>
                      <a:pt x="519" y="236"/>
                      <a:pt x="522" y="235"/>
                      <a:pt x="522" y="232"/>
                    </a:cubicBezTo>
                    <a:cubicBezTo>
                      <a:pt x="523" y="230"/>
                      <a:pt x="523" y="226"/>
                      <a:pt x="520" y="225"/>
                    </a:cubicBezTo>
                    <a:cubicBezTo>
                      <a:pt x="517" y="223"/>
                      <a:pt x="512" y="224"/>
                      <a:pt x="512" y="219"/>
                    </a:cubicBezTo>
                    <a:cubicBezTo>
                      <a:pt x="519" y="213"/>
                      <a:pt x="530" y="223"/>
                      <a:pt x="537" y="213"/>
                    </a:cubicBezTo>
                    <a:cubicBezTo>
                      <a:pt x="529" y="209"/>
                      <a:pt x="521" y="208"/>
                      <a:pt x="517" y="200"/>
                    </a:cubicBezTo>
                    <a:cubicBezTo>
                      <a:pt x="520" y="200"/>
                      <a:pt x="522" y="200"/>
                      <a:pt x="524" y="200"/>
                    </a:cubicBezTo>
                    <a:cubicBezTo>
                      <a:pt x="531" y="200"/>
                      <a:pt x="537" y="197"/>
                      <a:pt x="537" y="189"/>
                    </a:cubicBezTo>
                    <a:cubicBezTo>
                      <a:pt x="536" y="182"/>
                      <a:pt x="533" y="176"/>
                      <a:pt x="523" y="177"/>
                    </a:cubicBezTo>
                    <a:cubicBezTo>
                      <a:pt x="515" y="178"/>
                      <a:pt x="510" y="172"/>
                      <a:pt x="503" y="166"/>
                    </a:cubicBezTo>
                    <a:cubicBezTo>
                      <a:pt x="516" y="163"/>
                      <a:pt x="527" y="164"/>
                      <a:pt x="538" y="164"/>
                    </a:cubicBezTo>
                    <a:cubicBezTo>
                      <a:pt x="541" y="164"/>
                      <a:pt x="547" y="166"/>
                      <a:pt x="546" y="159"/>
                    </a:cubicBezTo>
                    <a:cubicBezTo>
                      <a:pt x="545" y="154"/>
                      <a:pt x="541" y="152"/>
                      <a:pt x="537" y="153"/>
                    </a:cubicBezTo>
                    <a:cubicBezTo>
                      <a:pt x="531" y="155"/>
                      <a:pt x="527" y="154"/>
                      <a:pt x="523" y="150"/>
                    </a:cubicBezTo>
                    <a:cubicBezTo>
                      <a:pt x="524" y="144"/>
                      <a:pt x="531" y="148"/>
                      <a:pt x="533" y="144"/>
                    </a:cubicBezTo>
                    <a:cubicBezTo>
                      <a:pt x="525" y="138"/>
                      <a:pt x="518" y="139"/>
                      <a:pt x="512" y="145"/>
                    </a:cubicBezTo>
                    <a:cubicBezTo>
                      <a:pt x="506" y="122"/>
                      <a:pt x="533" y="121"/>
                      <a:pt x="537" y="104"/>
                    </a:cubicBezTo>
                    <a:cubicBezTo>
                      <a:pt x="551" y="105"/>
                      <a:pt x="548" y="85"/>
                      <a:pt x="561" y="86"/>
                    </a:cubicBezTo>
                    <a:cubicBezTo>
                      <a:pt x="558" y="73"/>
                      <a:pt x="569" y="77"/>
                      <a:pt x="575" y="74"/>
                    </a:cubicBezTo>
                    <a:cubicBezTo>
                      <a:pt x="585" y="68"/>
                      <a:pt x="598" y="70"/>
                      <a:pt x="606" y="59"/>
                    </a:cubicBezTo>
                    <a:cubicBezTo>
                      <a:pt x="599" y="56"/>
                      <a:pt x="592" y="51"/>
                      <a:pt x="585" y="51"/>
                    </a:cubicBezTo>
                    <a:cubicBezTo>
                      <a:pt x="575" y="50"/>
                      <a:pt x="563" y="45"/>
                      <a:pt x="555" y="55"/>
                    </a:cubicBezTo>
                    <a:cubicBezTo>
                      <a:pt x="548" y="65"/>
                      <a:pt x="540" y="63"/>
                      <a:pt x="531" y="59"/>
                    </a:cubicBezTo>
                    <a:cubicBezTo>
                      <a:pt x="525" y="55"/>
                      <a:pt x="522" y="57"/>
                      <a:pt x="516" y="61"/>
                    </a:cubicBezTo>
                    <a:cubicBezTo>
                      <a:pt x="509" y="67"/>
                      <a:pt x="499" y="72"/>
                      <a:pt x="491" y="77"/>
                    </a:cubicBezTo>
                    <a:cubicBezTo>
                      <a:pt x="494" y="71"/>
                      <a:pt x="499" y="67"/>
                      <a:pt x="502" y="62"/>
                    </a:cubicBezTo>
                    <a:cubicBezTo>
                      <a:pt x="504" y="58"/>
                      <a:pt x="511" y="53"/>
                      <a:pt x="505" y="48"/>
                    </a:cubicBezTo>
                    <a:cubicBezTo>
                      <a:pt x="500" y="44"/>
                      <a:pt x="495" y="45"/>
                      <a:pt x="489" y="50"/>
                    </a:cubicBezTo>
                    <a:cubicBezTo>
                      <a:pt x="480" y="57"/>
                      <a:pt x="470" y="62"/>
                      <a:pt x="458" y="62"/>
                    </a:cubicBezTo>
                    <a:cubicBezTo>
                      <a:pt x="459" y="53"/>
                      <a:pt x="469" y="59"/>
                      <a:pt x="469" y="51"/>
                    </a:cubicBezTo>
                    <a:cubicBezTo>
                      <a:pt x="446" y="48"/>
                      <a:pt x="424" y="50"/>
                      <a:pt x="401" y="56"/>
                    </a:cubicBezTo>
                    <a:cubicBezTo>
                      <a:pt x="404" y="52"/>
                      <a:pt x="407" y="51"/>
                      <a:pt x="410" y="50"/>
                    </a:cubicBezTo>
                    <a:cubicBezTo>
                      <a:pt x="439" y="39"/>
                      <a:pt x="470" y="49"/>
                      <a:pt x="499" y="38"/>
                    </a:cubicBezTo>
                    <a:cubicBezTo>
                      <a:pt x="503" y="37"/>
                      <a:pt x="509" y="37"/>
                      <a:pt x="509" y="32"/>
                    </a:cubicBezTo>
                    <a:cubicBezTo>
                      <a:pt x="509" y="27"/>
                      <a:pt x="504" y="26"/>
                      <a:pt x="500" y="26"/>
                    </a:cubicBezTo>
                    <a:cubicBezTo>
                      <a:pt x="488" y="28"/>
                      <a:pt x="479" y="24"/>
                      <a:pt x="471" y="16"/>
                    </a:cubicBezTo>
                    <a:cubicBezTo>
                      <a:pt x="467" y="13"/>
                      <a:pt x="462" y="14"/>
                      <a:pt x="457" y="14"/>
                    </a:cubicBezTo>
                    <a:cubicBezTo>
                      <a:pt x="451" y="13"/>
                      <a:pt x="446" y="13"/>
                      <a:pt x="441" y="12"/>
                    </a:cubicBezTo>
                    <a:cubicBezTo>
                      <a:pt x="408" y="7"/>
                      <a:pt x="375" y="0"/>
                      <a:pt x="344" y="19"/>
                    </a:cubicBezTo>
                    <a:cubicBezTo>
                      <a:pt x="341" y="20"/>
                      <a:pt x="339" y="19"/>
                      <a:pt x="337" y="19"/>
                    </a:cubicBezTo>
                    <a:cubicBezTo>
                      <a:pt x="312" y="13"/>
                      <a:pt x="289" y="21"/>
                      <a:pt x="265" y="21"/>
                    </a:cubicBezTo>
                    <a:cubicBezTo>
                      <a:pt x="264" y="27"/>
                      <a:pt x="271" y="26"/>
                      <a:pt x="270" y="30"/>
                    </a:cubicBezTo>
                    <a:cubicBezTo>
                      <a:pt x="266" y="35"/>
                      <a:pt x="259" y="29"/>
                      <a:pt x="255" y="35"/>
                    </a:cubicBezTo>
                    <a:cubicBezTo>
                      <a:pt x="257" y="39"/>
                      <a:pt x="264" y="39"/>
                      <a:pt x="263" y="46"/>
                    </a:cubicBezTo>
                    <a:cubicBezTo>
                      <a:pt x="253" y="46"/>
                      <a:pt x="245" y="41"/>
                      <a:pt x="236" y="37"/>
                    </a:cubicBezTo>
                    <a:cubicBezTo>
                      <a:pt x="231" y="34"/>
                      <a:pt x="224" y="32"/>
                      <a:pt x="220" y="36"/>
                    </a:cubicBezTo>
                    <a:cubicBezTo>
                      <a:pt x="215" y="43"/>
                      <a:pt x="227" y="42"/>
                      <a:pt x="228" y="48"/>
                    </a:cubicBezTo>
                    <a:cubicBezTo>
                      <a:pt x="219" y="54"/>
                      <a:pt x="213" y="48"/>
                      <a:pt x="207" y="44"/>
                    </a:cubicBezTo>
                    <a:cubicBezTo>
                      <a:pt x="200" y="38"/>
                      <a:pt x="195" y="34"/>
                      <a:pt x="198" y="48"/>
                    </a:cubicBezTo>
                    <a:cubicBezTo>
                      <a:pt x="198" y="53"/>
                      <a:pt x="196" y="56"/>
                      <a:pt x="192" y="56"/>
                    </a:cubicBezTo>
                    <a:cubicBezTo>
                      <a:pt x="188" y="56"/>
                      <a:pt x="189" y="51"/>
                      <a:pt x="189" y="49"/>
                    </a:cubicBezTo>
                    <a:cubicBezTo>
                      <a:pt x="189" y="45"/>
                      <a:pt x="186" y="39"/>
                      <a:pt x="184" y="39"/>
                    </a:cubicBezTo>
                    <a:cubicBezTo>
                      <a:pt x="170" y="40"/>
                      <a:pt x="151" y="39"/>
                      <a:pt x="143" y="47"/>
                    </a:cubicBezTo>
                    <a:cubicBezTo>
                      <a:pt x="137" y="53"/>
                      <a:pt x="134" y="49"/>
                      <a:pt x="131" y="50"/>
                    </a:cubicBezTo>
                    <a:cubicBezTo>
                      <a:pt x="125" y="52"/>
                      <a:pt x="113" y="43"/>
                      <a:pt x="115" y="57"/>
                    </a:cubicBezTo>
                    <a:cubicBezTo>
                      <a:pt x="116" y="68"/>
                      <a:pt x="111" y="69"/>
                      <a:pt x="103" y="68"/>
                    </a:cubicBezTo>
                    <a:cubicBezTo>
                      <a:pt x="82" y="66"/>
                      <a:pt x="67" y="77"/>
                      <a:pt x="52" y="90"/>
                    </a:cubicBezTo>
                    <a:cubicBezTo>
                      <a:pt x="58" y="92"/>
                      <a:pt x="64" y="92"/>
                      <a:pt x="70" y="92"/>
                    </a:cubicBezTo>
                    <a:cubicBezTo>
                      <a:pt x="76" y="93"/>
                      <a:pt x="79" y="97"/>
                      <a:pt x="76" y="102"/>
                    </a:cubicBezTo>
                    <a:cubicBezTo>
                      <a:pt x="71" y="109"/>
                      <a:pt x="65" y="117"/>
                      <a:pt x="55" y="116"/>
                    </a:cubicBezTo>
                    <a:cubicBezTo>
                      <a:pt x="37" y="115"/>
                      <a:pt x="21" y="126"/>
                      <a:pt x="4" y="128"/>
                    </a:cubicBezTo>
                    <a:cubicBezTo>
                      <a:pt x="1" y="129"/>
                      <a:pt x="0" y="131"/>
                      <a:pt x="0" y="134"/>
                    </a:cubicBezTo>
                    <a:cubicBezTo>
                      <a:pt x="0" y="136"/>
                      <a:pt x="0" y="140"/>
                      <a:pt x="3" y="140"/>
                    </a:cubicBezTo>
                    <a:cubicBezTo>
                      <a:pt x="16" y="139"/>
                      <a:pt x="25" y="152"/>
                      <a:pt x="38" y="150"/>
                    </a:cubicBezTo>
                    <a:cubicBezTo>
                      <a:pt x="33" y="161"/>
                      <a:pt x="23" y="156"/>
                      <a:pt x="16" y="159"/>
                    </a:cubicBezTo>
                    <a:cubicBezTo>
                      <a:pt x="18" y="168"/>
                      <a:pt x="31" y="160"/>
                      <a:pt x="31" y="167"/>
                    </a:cubicBezTo>
                    <a:cubicBezTo>
                      <a:pt x="30" y="174"/>
                      <a:pt x="34" y="174"/>
                      <a:pt x="37" y="177"/>
                    </a:cubicBezTo>
                    <a:cubicBezTo>
                      <a:pt x="50" y="190"/>
                      <a:pt x="63" y="178"/>
                      <a:pt x="74" y="177"/>
                    </a:cubicBezTo>
                    <a:cubicBezTo>
                      <a:pt x="97" y="174"/>
                      <a:pt x="117" y="178"/>
                      <a:pt x="135" y="189"/>
                    </a:cubicBezTo>
                    <a:cubicBezTo>
                      <a:pt x="144" y="194"/>
                      <a:pt x="155" y="203"/>
                      <a:pt x="159" y="212"/>
                    </a:cubicBezTo>
                    <a:cubicBezTo>
                      <a:pt x="164" y="226"/>
                      <a:pt x="183" y="238"/>
                      <a:pt x="171" y="258"/>
                    </a:cubicBezTo>
                    <a:cubicBezTo>
                      <a:pt x="170" y="260"/>
                      <a:pt x="171" y="265"/>
                      <a:pt x="172" y="267"/>
                    </a:cubicBezTo>
                    <a:cubicBezTo>
                      <a:pt x="175" y="271"/>
                      <a:pt x="180" y="270"/>
                      <a:pt x="183" y="267"/>
                    </a:cubicBezTo>
                    <a:cubicBezTo>
                      <a:pt x="188" y="264"/>
                      <a:pt x="193" y="262"/>
                      <a:pt x="194" y="269"/>
                    </a:cubicBezTo>
                    <a:cubicBezTo>
                      <a:pt x="195" y="277"/>
                      <a:pt x="199" y="278"/>
                      <a:pt x="205" y="278"/>
                    </a:cubicBezTo>
                    <a:cubicBezTo>
                      <a:pt x="210" y="278"/>
                      <a:pt x="211" y="282"/>
                      <a:pt x="212" y="286"/>
                    </a:cubicBezTo>
                    <a:cubicBezTo>
                      <a:pt x="202" y="287"/>
                      <a:pt x="191" y="277"/>
                      <a:pt x="184" y="292"/>
                    </a:cubicBezTo>
                    <a:cubicBezTo>
                      <a:pt x="183" y="296"/>
                      <a:pt x="174" y="298"/>
                      <a:pt x="179" y="304"/>
                    </a:cubicBezTo>
                    <a:cubicBezTo>
                      <a:pt x="184" y="310"/>
                      <a:pt x="192" y="313"/>
                      <a:pt x="200" y="310"/>
                    </a:cubicBezTo>
                    <a:cubicBezTo>
                      <a:pt x="209" y="306"/>
                      <a:pt x="200" y="301"/>
                      <a:pt x="199" y="297"/>
                    </a:cubicBezTo>
                    <a:cubicBezTo>
                      <a:pt x="213" y="296"/>
                      <a:pt x="217" y="298"/>
                      <a:pt x="217" y="306"/>
                    </a:cubicBezTo>
                    <a:cubicBezTo>
                      <a:pt x="218" y="314"/>
                      <a:pt x="216" y="320"/>
                      <a:pt x="205" y="321"/>
                    </a:cubicBezTo>
                    <a:cubicBezTo>
                      <a:pt x="192" y="322"/>
                      <a:pt x="188" y="340"/>
                      <a:pt x="196" y="351"/>
                    </a:cubicBezTo>
                    <a:cubicBezTo>
                      <a:pt x="199" y="354"/>
                      <a:pt x="197" y="355"/>
                      <a:pt x="195" y="356"/>
                    </a:cubicBezTo>
                    <a:cubicBezTo>
                      <a:pt x="191" y="358"/>
                      <a:pt x="191" y="364"/>
                      <a:pt x="192" y="365"/>
                    </a:cubicBezTo>
                    <a:cubicBezTo>
                      <a:pt x="206" y="371"/>
                      <a:pt x="202" y="388"/>
                      <a:pt x="210" y="398"/>
                    </a:cubicBezTo>
                    <a:cubicBezTo>
                      <a:pt x="216" y="406"/>
                      <a:pt x="224" y="414"/>
                      <a:pt x="227" y="426"/>
                    </a:cubicBezTo>
                    <a:cubicBezTo>
                      <a:pt x="228" y="434"/>
                      <a:pt x="237" y="443"/>
                      <a:pt x="244" y="445"/>
                    </a:cubicBezTo>
                    <a:cubicBezTo>
                      <a:pt x="256" y="448"/>
                      <a:pt x="267" y="454"/>
                      <a:pt x="278" y="458"/>
                    </a:cubicBezTo>
                    <a:cubicBezTo>
                      <a:pt x="292" y="464"/>
                      <a:pt x="296" y="461"/>
                      <a:pt x="300" y="447"/>
                    </a:cubicBezTo>
                    <a:cubicBezTo>
                      <a:pt x="304" y="434"/>
                      <a:pt x="299" y="418"/>
                      <a:pt x="315" y="409"/>
                    </a:cubicBezTo>
                    <a:cubicBezTo>
                      <a:pt x="318" y="407"/>
                      <a:pt x="318" y="402"/>
                      <a:pt x="320" y="398"/>
                    </a:cubicBezTo>
                    <a:cubicBezTo>
                      <a:pt x="321" y="390"/>
                      <a:pt x="320" y="381"/>
                      <a:pt x="328" y="376"/>
                    </a:cubicBezTo>
                    <a:cubicBezTo>
                      <a:pt x="334" y="371"/>
                      <a:pt x="344" y="374"/>
                      <a:pt x="345" y="363"/>
                    </a:cubicBezTo>
                    <a:cubicBezTo>
                      <a:pt x="346" y="363"/>
                      <a:pt x="348" y="362"/>
                      <a:pt x="349" y="363"/>
                    </a:cubicBezTo>
                    <a:cubicBezTo>
                      <a:pt x="371" y="369"/>
                      <a:pt x="381" y="365"/>
                      <a:pt x="393" y="347"/>
                    </a:cubicBezTo>
                    <a:cubicBezTo>
                      <a:pt x="398" y="340"/>
                      <a:pt x="403" y="331"/>
                      <a:pt x="409" y="330"/>
                    </a:cubicBezTo>
                    <a:cubicBezTo>
                      <a:pt x="426" y="327"/>
                      <a:pt x="444" y="326"/>
                      <a:pt x="460" y="320"/>
                    </a:cubicBezTo>
                    <a:cubicBezTo>
                      <a:pt x="475" y="314"/>
                      <a:pt x="490" y="308"/>
                      <a:pt x="506" y="297"/>
                    </a:cubicBezTo>
                    <a:cubicBezTo>
                      <a:pt x="497" y="296"/>
                      <a:pt x="489" y="298"/>
                      <a:pt x="485" y="29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55F89BF1-DCC6-B341-EB19-DAD75A479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84558" y="4317044"/>
                <a:ext cx="968899" cy="735770"/>
              </a:xfrm>
              <a:custGeom>
                <a:avLst/>
                <a:gdLst>
                  <a:gd name="T0" fmla="*/ 359 w 406"/>
                  <a:gd name="T1" fmla="*/ 107 h 308"/>
                  <a:gd name="T2" fmla="*/ 342 w 406"/>
                  <a:gd name="T3" fmla="*/ 91 h 308"/>
                  <a:gd name="T4" fmla="*/ 333 w 406"/>
                  <a:gd name="T5" fmla="*/ 83 h 308"/>
                  <a:gd name="T6" fmla="*/ 321 w 406"/>
                  <a:gd name="T7" fmla="*/ 46 h 308"/>
                  <a:gd name="T8" fmla="*/ 316 w 406"/>
                  <a:gd name="T9" fmla="*/ 39 h 308"/>
                  <a:gd name="T10" fmla="*/ 303 w 406"/>
                  <a:gd name="T11" fmla="*/ 21 h 308"/>
                  <a:gd name="T12" fmla="*/ 294 w 406"/>
                  <a:gd name="T13" fmla="*/ 0 h 308"/>
                  <a:gd name="T14" fmla="*/ 285 w 406"/>
                  <a:gd name="T15" fmla="*/ 42 h 308"/>
                  <a:gd name="T16" fmla="*/ 278 w 406"/>
                  <a:gd name="T17" fmla="*/ 65 h 308"/>
                  <a:gd name="T18" fmla="*/ 263 w 406"/>
                  <a:gd name="T19" fmla="*/ 68 h 308"/>
                  <a:gd name="T20" fmla="*/ 251 w 406"/>
                  <a:gd name="T21" fmla="*/ 61 h 308"/>
                  <a:gd name="T22" fmla="*/ 236 w 406"/>
                  <a:gd name="T23" fmla="*/ 18 h 308"/>
                  <a:gd name="T24" fmla="*/ 236 w 406"/>
                  <a:gd name="T25" fmla="*/ 15 h 308"/>
                  <a:gd name="T26" fmla="*/ 210 w 406"/>
                  <a:gd name="T27" fmla="*/ 13 h 308"/>
                  <a:gd name="T28" fmla="*/ 166 w 406"/>
                  <a:gd name="T29" fmla="*/ 33 h 308"/>
                  <a:gd name="T30" fmla="*/ 146 w 406"/>
                  <a:gd name="T31" fmla="*/ 37 h 308"/>
                  <a:gd name="T32" fmla="*/ 132 w 406"/>
                  <a:gd name="T33" fmla="*/ 33 h 308"/>
                  <a:gd name="T34" fmla="*/ 112 w 406"/>
                  <a:gd name="T35" fmla="*/ 51 h 308"/>
                  <a:gd name="T36" fmla="*/ 94 w 406"/>
                  <a:gd name="T37" fmla="*/ 62 h 308"/>
                  <a:gd name="T38" fmla="*/ 90 w 406"/>
                  <a:gd name="T39" fmla="*/ 79 h 308"/>
                  <a:gd name="T40" fmla="*/ 36 w 406"/>
                  <a:gd name="T41" fmla="*/ 104 h 308"/>
                  <a:gd name="T42" fmla="*/ 5 w 406"/>
                  <a:gd name="T43" fmla="*/ 132 h 308"/>
                  <a:gd name="T44" fmla="*/ 7 w 406"/>
                  <a:gd name="T45" fmla="*/ 158 h 308"/>
                  <a:gd name="T46" fmla="*/ 10 w 406"/>
                  <a:gd name="T47" fmla="*/ 182 h 308"/>
                  <a:gd name="T48" fmla="*/ 19 w 406"/>
                  <a:gd name="T49" fmla="*/ 245 h 308"/>
                  <a:gd name="T50" fmla="*/ 22 w 406"/>
                  <a:gd name="T51" fmla="*/ 251 h 308"/>
                  <a:gd name="T52" fmla="*/ 51 w 406"/>
                  <a:gd name="T53" fmla="*/ 257 h 308"/>
                  <a:gd name="T54" fmla="*/ 75 w 406"/>
                  <a:gd name="T55" fmla="*/ 247 h 308"/>
                  <a:gd name="T56" fmla="*/ 118 w 406"/>
                  <a:gd name="T57" fmla="*/ 234 h 308"/>
                  <a:gd name="T58" fmla="*/ 164 w 406"/>
                  <a:gd name="T59" fmla="*/ 222 h 308"/>
                  <a:gd name="T60" fmla="*/ 205 w 406"/>
                  <a:gd name="T61" fmla="*/ 228 h 308"/>
                  <a:gd name="T62" fmla="*/ 211 w 406"/>
                  <a:gd name="T63" fmla="*/ 233 h 308"/>
                  <a:gd name="T64" fmla="*/ 244 w 406"/>
                  <a:gd name="T65" fmla="*/ 243 h 308"/>
                  <a:gd name="T66" fmla="*/ 241 w 406"/>
                  <a:gd name="T67" fmla="*/ 259 h 308"/>
                  <a:gd name="T68" fmla="*/ 252 w 406"/>
                  <a:gd name="T69" fmla="*/ 263 h 308"/>
                  <a:gd name="T70" fmla="*/ 258 w 406"/>
                  <a:gd name="T71" fmla="*/ 266 h 308"/>
                  <a:gd name="T72" fmla="*/ 267 w 406"/>
                  <a:gd name="T73" fmla="*/ 277 h 308"/>
                  <a:gd name="T74" fmla="*/ 308 w 406"/>
                  <a:gd name="T75" fmla="*/ 301 h 308"/>
                  <a:gd name="T76" fmla="*/ 329 w 406"/>
                  <a:gd name="T77" fmla="*/ 303 h 308"/>
                  <a:gd name="T78" fmla="*/ 334 w 406"/>
                  <a:gd name="T79" fmla="*/ 303 h 308"/>
                  <a:gd name="T80" fmla="*/ 367 w 406"/>
                  <a:gd name="T81" fmla="*/ 289 h 308"/>
                  <a:gd name="T82" fmla="*/ 369 w 406"/>
                  <a:gd name="T83" fmla="*/ 283 h 308"/>
                  <a:gd name="T84" fmla="*/ 387 w 406"/>
                  <a:gd name="T85" fmla="*/ 238 h 308"/>
                  <a:gd name="T86" fmla="*/ 405 w 406"/>
                  <a:gd name="T87" fmla="*/ 186 h 308"/>
                  <a:gd name="T88" fmla="*/ 388 w 406"/>
                  <a:gd name="T89" fmla="*/ 142 h 308"/>
                  <a:gd name="T90" fmla="*/ 359 w 406"/>
                  <a:gd name="T91" fmla="*/ 107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06" h="308">
                    <a:moveTo>
                      <a:pt x="359" y="107"/>
                    </a:moveTo>
                    <a:cubicBezTo>
                      <a:pt x="355" y="100"/>
                      <a:pt x="350" y="94"/>
                      <a:pt x="342" y="91"/>
                    </a:cubicBezTo>
                    <a:cubicBezTo>
                      <a:pt x="338" y="90"/>
                      <a:pt x="334" y="89"/>
                      <a:pt x="333" y="83"/>
                    </a:cubicBezTo>
                    <a:cubicBezTo>
                      <a:pt x="330" y="71"/>
                      <a:pt x="325" y="58"/>
                      <a:pt x="321" y="46"/>
                    </a:cubicBezTo>
                    <a:cubicBezTo>
                      <a:pt x="320" y="42"/>
                      <a:pt x="319" y="39"/>
                      <a:pt x="316" y="39"/>
                    </a:cubicBezTo>
                    <a:cubicBezTo>
                      <a:pt x="301" y="40"/>
                      <a:pt x="303" y="30"/>
                      <a:pt x="303" y="21"/>
                    </a:cubicBezTo>
                    <a:cubicBezTo>
                      <a:pt x="303" y="13"/>
                      <a:pt x="297" y="8"/>
                      <a:pt x="294" y="0"/>
                    </a:cubicBezTo>
                    <a:cubicBezTo>
                      <a:pt x="284" y="14"/>
                      <a:pt x="284" y="28"/>
                      <a:pt x="285" y="42"/>
                    </a:cubicBezTo>
                    <a:cubicBezTo>
                      <a:pt x="286" y="51"/>
                      <a:pt x="283" y="58"/>
                      <a:pt x="278" y="65"/>
                    </a:cubicBezTo>
                    <a:cubicBezTo>
                      <a:pt x="274" y="72"/>
                      <a:pt x="268" y="73"/>
                      <a:pt x="263" y="68"/>
                    </a:cubicBezTo>
                    <a:cubicBezTo>
                      <a:pt x="260" y="64"/>
                      <a:pt x="255" y="63"/>
                      <a:pt x="251" y="61"/>
                    </a:cubicBezTo>
                    <a:cubicBezTo>
                      <a:pt x="226" y="51"/>
                      <a:pt x="223" y="42"/>
                      <a:pt x="236" y="18"/>
                    </a:cubicBezTo>
                    <a:cubicBezTo>
                      <a:pt x="237" y="18"/>
                      <a:pt x="236" y="16"/>
                      <a:pt x="236" y="15"/>
                    </a:cubicBezTo>
                    <a:cubicBezTo>
                      <a:pt x="228" y="13"/>
                      <a:pt x="219" y="16"/>
                      <a:pt x="210" y="13"/>
                    </a:cubicBezTo>
                    <a:cubicBezTo>
                      <a:pt x="192" y="6"/>
                      <a:pt x="172" y="16"/>
                      <a:pt x="166" y="33"/>
                    </a:cubicBezTo>
                    <a:cubicBezTo>
                      <a:pt x="161" y="46"/>
                      <a:pt x="155" y="48"/>
                      <a:pt x="146" y="37"/>
                    </a:cubicBezTo>
                    <a:cubicBezTo>
                      <a:pt x="141" y="32"/>
                      <a:pt x="137" y="29"/>
                      <a:pt x="132" y="33"/>
                    </a:cubicBezTo>
                    <a:cubicBezTo>
                      <a:pt x="126" y="39"/>
                      <a:pt x="118" y="44"/>
                      <a:pt x="112" y="51"/>
                    </a:cubicBezTo>
                    <a:cubicBezTo>
                      <a:pt x="108" y="55"/>
                      <a:pt x="110" y="76"/>
                      <a:pt x="94" y="62"/>
                    </a:cubicBezTo>
                    <a:cubicBezTo>
                      <a:pt x="91" y="68"/>
                      <a:pt x="95" y="74"/>
                      <a:pt x="90" y="79"/>
                    </a:cubicBezTo>
                    <a:cubicBezTo>
                      <a:pt x="75" y="94"/>
                      <a:pt x="56" y="99"/>
                      <a:pt x="36" y="104"/>
                    </a:cubicBezTo>
                    <a:cubicBezTo>
                      <a:pt x="22" y="107"/>
                      <a:pt x="11" y="118"/>
                      <a:pt x="5" y="132"/>
                    </a:cubicBezTo>
                    <a:cubicBezTo>
                      <a:pt x="0" y="143"/>
                      <a:pt x="11" y="151"/>
                      <a:pt x="7" y="158"/>
                    </a:cubicBezTo>
                    <a:cubicBezTo>
                      <a:pt x="1" y="168"/>
                      <a:pt x="8" y="174"/>
                      <a:pt x="10" y="182"/>
                    </a:cubicBezTo>
                    <a:cubicBezTo>
                      <a:pt x="16" y="202"/>
                      <a:pt x="36" y="221"/>
                      <a:pt x="19" y="245"/>
                    </a:cubicBezTo>
                    <a:cubicBezTo>
                      <a:pt x="17" y="247"/>
                      <a:pt x="20" y="250"/>
                      <a:pt x="22" y="251"/>
                    </a:cubicBezTo>
                    <a:cubicBezTo>
                      <a:pt x="30" y="260"/>
                      <a:pt x="40" y="263"/>
                      <a:pt x="51" y="257"/>
                    </a:cubicBezTo>
                    <a:cubicBezTo>
                      <a:pt x="59" y="253"/>
                      <a:pt x="67" y="245"/>
                      <a:pt x="75" y="247"/>
                    </a:cubicBezTo>
                    <a:cubicBezTo>
                      <a:pt x="92" y="250"/>
                      <a:pt x="105" y="243"/>
                      <a:pt x="118" y="234"/>
                    </a:cubicBezTo>
                    <a:cubicBezTo>
                      <a:pt x="132" y="225"/>
                      <a:pt x="149" y="229"/>
                      <a:pt x="164" y="222"/>
                    </a:cubicBezTo>
                    <a:cubicBezTo>
                      <a:pt x="178" y="215"/>
                      <a:pt x="192" y="224"/>
                      <a:pt x="205" y="228"/>
                    </a:cubicBezTo>
                    <a:cubicBezTo>
                      <a:pt x="207" y="229"/>
                      <a:pt x="209" y="230"/>
                      <a:pt x="211" y="233"/>
                    </a:cubicBezTo>
                    <a:cubicBezTo>
                      <a:pt x="223" y="257"/>
                      <a:pt x="223" y="257"/>
                      <a:pt x="244" y="243"/>
                    </a:cubicBezTo>
                    <a:cubicBezTo>
                      <a:pt x="246" y="249"/>
                      <a:pt x="242" y="254"/>
                      <a:pt x="241" y="259"/>
                    </a:cubicBezTo>
                    <a:cubicBezTo>
                      <a:pt x="245" y="262"/>
                      <a:pt x="256" y="243"/>
                      <a:pt x="252" y="263"/>
                    </a:cubicBezTo>
                    <a:cubicBezTo>
                      <a:pt x="252" y="267"/>
                      <a:pt x="256" y="265"/>
                      <a:pt x="258" y="266"/>
                    </a:cubicBezTo>
                    <a:cubicBezTo>
                      <a:pt x="263" y="268"/>
                      <a:pt x="266" y="272"/>
                      <a:pt x="267" y="277"/>
                    </a:cubicBezTo>
                    <a:cubicBezTo>
                      <a:pt x="269" y="290"/>
                      <a:pt x="297" y="308"/>
                      <a:pt x="308" y="301"/>
                    </a:cubicBezTo>
                    <a:cubicBezTo>
                      <a:pt x="317" y="295"/>
                      <a:pt x="322" y="297"/>
                      <a:pt x="329" y="303"/>
                    </a:cubicBezTo>
                    <a:cubicBezTo>
                      <a:pt x="331" y="305"/>
                      <a:pt x="332" y="304"/>
                      <a:pt x="334" y="303"/>
                    </a:cubicBezTo>
                    <a:cubicBezTo>
                      <a:pt x="345" y="298"/>
                      <a:pt x="354" y="288"/>
                      <a:pt x="367" y="289"/>
                    </a:cubicBezTo>
                    <a:cubicBezTo>
                      <a:pt x="368" y="289"/>
                      <a:pt x="369" y="285"/>
                      <a:pt x="369" y="283"/>
                    </a:cubicBezTo>
                    <a:cubicBezTo>
                      <a:pt x="371" y="266"/>
                      <a:pt x="378" y="251"/>
                      <a:pt x="387" y="238"/>
                    </a:cubicBezTo>
                    <a:cubicBezTo>
                      <a:pt x="399" y="222"/>
                      <a:pt x="403" y="205"/>
                      <a:pt x="405" y="186"/>
                    </a:cubicBezTo>
                    <a:cubicBezTo>
                      <a:pt x="406" y="170"/>
                      <a:pt x="400" y="152"/>
                      <a:pt x="388" y="142"/>
                    </a:cubicBezTo>
                    <a:cubicBezTo>
                      <a:pt x="377" y="131"/>
                      <a:pt x="367" y="120"/>
                      <a:pt x="359" y="10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5732AAA8-BA8F-A400-CA33-F8506CFA5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9711" y="1349709"/>
                <a:ext cx="700733" cy="398880"/>
              </a:xfrm>
              <a:custGeom>
                <a:avLst/>
                <a:gdLst>
                  <a:gd name="T0" fmla="*/ 69 w 294"/>
                  <a:gd name="T1" fmla="*/ 108 h 167"/>
                  <a:gd name="T2" fmla="*/ 41 w 294"/>
                  <a:gd name="T3" fmla="*/ 107 h 167"/>
                  <a:gd name="T4" fmla="*/ 32 w 294"/>
                  <a:gd name="T5" fmla="*/ 118 h 167"/>
                  <a:gd name="T6" fmla="*/ 44 w 294"/>
                  <a:gd name="T7" fmla="*/ 121 h 167"/>
                  <a:gd name="T8" fmla="*/ 54 w 294"/>
                  <a:gd name="T9" fmla="*/ 119 h 167"/>
                  <a:gd name="T10" fmla="*/ 55 w 294"/>
                  <a:gd name="T11" fmla="*/ 130 h 167"/>
                  <a:gd name="T12" fmla="*/ 59 w 294"/>
                  <a:gd name="T13" fmla="*/ 139 h 167"/>
                  <a:gd name="T14" fmla="*/ 50 w 294"/>
                  <a:gd name="T15" fmla="*/ 134 h 167"/>
                  <a:gd name="T16" fmla="*/ 43 w 294"/>
                  <a:gd name="T17" fmla="*/ 129 h 167"/>
                  <a:gd name="T18" fmla="*/ 27 w 294"/>
                  <a:gd name="T19" fmla="*/ 130 h 167"/>
                  <a:gd name="T20" fmla="*/ 33 w 294"/>
                  <a:gd name="T21" fmla="*/ 142 h 167"/>
                  <a:gd name="T22" fmla="*/ 9 w 294"/>
                  <a:gd name="T23" fmla="*/ 153 h 167"/>
                  <a:gd name="T24" fmla="*/ 42 w 294"/>
                  <a:gd name="T25" fmla="*/ 156 h 167"/>
                  <a:gd name="T26" fmla="*/ 63 w 294"/>
                  <a:gd name="T27" fmla="*/ 156 h 167"/>
                  <a:gd name="T28" fmla="*/ 87 w 294"/>
                  <a:gd name="T29" fmla="*/ 155 h 167"/>
                  <a:gd name="T30" fmla="*/ 125 w 294"/>
                  <a:gd name="T31" fmla="*/ 154 h 167"/>
                  <a:gd name="T32" fmla="*/ 127 w 294"/>
                  <a:gd name="T33" fmla="*/ 149 h 167"/>
                  <a:gd name="T34" fmla="*/ 122 w 294"/>
                  <a:gd name="T35" fmla="*/ 146 h 167"/>
                  <a:gd name="T36" fmla="*/ 85 w 294"/>
                  <a:gd name="T37" fmla="*/ 142 h 167"/>
                  <a:gd name="T38" fmla="*/ 103 w 294"/>
                  <a:gd name="T39" fmla="*/ 136 h 167"/>
                  <a:gd name="T40" fmla="*/ 149 w 294"/>
                  <a:gd name="T41" fmla="*/ 119 h 167"/>
                  <a:gd name="T42" fmla="*/ 158 w 294"/>
                  <a:gd name="T43" fmla="*/ 110 h 167"/>
                  <a:gd name="T44" fmla="*/ 152 w 294"/>
                  <a:gd name="T45" fmla="*/ 100 h 167"/>
                  <a:gd name="T46" fmla="*/ 133 w 294"/>
                  <a:gd name="T47" fmla="*/ 96 h 167"/>
                  <a:gd name="T48" fmla="*/ 262 w 294"/>
                  <a:gd name="T49" fmla="*/ 47 h 167"/>
                  <a:gd name="T50" fmla="*/ 234 w 294"/>
                  <a:gd name="T51" fmla="*/ 41 h 167"/>
                  <a:gd name="T52" fmla="*/ 294 w 294"/>
                  <a:gd name="T53" fmla="*/ 22 h 167"/>
                  <a:gd name="T54" fmla="*/ 273 w 294"/>
                  <a:gd name="T55" fmla="*/ 15 h 167"/>
                  <a:gd name="T56" fmla="*/ 261 w 294"/>
                  <a:gd name="T57" fmla="*/ 10 h 167"/>
                  <a:gd name="T58" fmla="*/ 229 w 294"/>
                  <a:gd name="T59" fmla="*/ 6 h 167"/>
                  <a:gd name="T60" fmla="*/ 201 w 294"/>
                  <a:gd name="T61" fmla="*/ 4 h 167"/>
                  <a:gd name="T62" fmla="*/ 169 w 294"/>
                  <a:gd name="T63" fmla="*/ 10 h 167"/>
                  <a:gd name="T64" fmla="*/ 131 w 294"/>
                  <a:gd name="T65" fmla="*/ 10 h 167"/>
                  <a:gd name="T66" fmla="*/ 124 w 294"/>
                  <a:gd name="T67" fmla="*/ 10 h 167"/>
                  <a:gd name="T68" fmla="*/ 98 w 294"/>
                  <a:gd name="T69" fmla="*/ 13 h 167"/>
                  <a:gd name="T70" fmla="*/ 63 w 294"/>
                  <a:gd name="T71" fmla="*/ 21 h 167"/>
                  <a:gd name="T72" fmla="*/ 42 w 294"/>
                  <a:gd name="T73" fmla="*/ 29 h 167"/>
                  <a:gd name="T74" fmla="*/ 31 w 294"/>
                  <a:gd name="T75" fmla="*/ 30 h 167"/>
                  <a:gd name="T76" fmla="*/ 6 w 294"/>
                  <a:gd name="T77" fmla="*/ 36 h 167"/>
                  <a:gd name="T78" fmla="*/ 6 w 294"/>
                  <a:gd name="T79" fmla="*/ 49 h 167"/>
                  <a:gd name="T80" fmla="*/ 27 w 294"/>
                  <a:gd name="T81" fmla="*/ 63 h 167"/>
                  <a:gd name="T82" fmla="*/ 51 w 294"/>
                  <a:gd name="T83" fmla="*/ 70 h 167"/>
                  <a:gd name="T84" fmla="*/ 46 w 294"/>
                  <a:gd name="T85" fmla="*/ 88 h 167"/>
                  <a:gd name="T86" fmla="*/ 69 w 294"/>
                  <a:gd name="T87" fmla="*/ 108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94" h="167">
                    <a:moveTo>
                      <a:pt x="69" y="108"/>
                    </a:moveTo>
                    <a:cubicBezTo>
                      <a:pt x="59" y="105"/>
                      <a:pt x="50" y="105"/>
                      <a:pt x="41" y="107"/>
                    </a:cubicBezTo>
                    <a:cubicBezTo>
                      <a:pt x="37" y="108"/>
                      <a:pt x="29" y="111"/>
                      <a:pt x="32" y="118"/>
                    </a:cubicBezTo>
                    <a:cubicBezTo>
                      <a:pt x="34" y="125"/>
                      <a:pt x="40" y="122"/>
                      <a:pt x="44" y="121"/>
                    </a:cubicBezTo>
                    <a:cubicBezTo>
                      <a:pt x="48" y="120"/>
                      <a:pt x="50" y="117"/>
                      <a:pt x="54" y="119"/>
                    </a:cubicBezTo>
                    <a:cubicBezTo>
                      <a:pt x="53" y="123"/>
                      <a:pt x="49" y="127"/>
                      <a:pt x="55" y="130"/>
                    </a:cubicBezTo>
                    <a:cubicBezTo>
                      <a:pt x="59" y="132"/>
                      <a:pt x="64" y="135"/>
                      <a:pt x="59" y="139"/>
                    </a:cubicBezTo>
                    <a:cubicBezTo>
                      <a:pt x="53" y="145"/>
                      <a:pt x="52" y="137"/>
                      <a:pt x="50" y="134"/>
                    </a:cubicBezTo>
                    <a:cubicBezTo>
                      <a:pt x="48" y="132"/>
                      <a:pt x="46" y="130"/>
                      <a:pt x="43" y="129"/>
                    </a:cubicBezTo>
                    <a:cubicBezTo>
                      <a:pt x="38" y="126"/>
                      <a:pt x="31" y="124"/>
                      <a:pt x="27" y="130"/>
                    </a:cubicBezTo>
                    <a:cubicBezTo>
                      <a:pt x="20" y="138"/>
                      <a:pt x="37" y="133"/>
                      <a:pt x="33" y="142"/>
                    </a:cubicBezTo>
                    <a:cubicBezTo>
                      <a:pt x="25" y="142"/>
                      <a:pt x="16" y="143"/>
                      <a:pt x="9" y="153"/>
                    </a:cubicBezTo>
                    <a:cubicBezTo>
                      <a:pt x="21" y="154"/>
                      <a:pt x="32" y="152"/>
                      <a:pt x="42" y="156"/>
                    </a:cubicBezTo>
                    <a:cubicBezTo>
                      <a:pt x="50" y="159"/>
                      <a:pt x="54" y="162"/>
                      <a:pt x="63" y="156"/>
                    </a:cubicBezTo>
                    <a:cubicBezTo>
                      <a:pt x="69" y="151"/>
                      <a:pt x="81" y="151"/>
                      <a:pt x="87" y="155"/>
                    </a:cubicBezTo>
                    <a:cubicBezTo>
                      <a:pt x="101" y="167"/>
                      <a:pt x="112" y="155"/>
                      <a:pt x="125" y="154"/>
                    </a:cubicBezTo>
                    <a:cubicBezTo>
                      <a:pt x="127" y="154"/>
                      <a:pt x="128" y="152"/>
                      <a:pt x="127" y="149"/>
                    </a:cubicBezTo>
                    <a:cubicBezTo>
                      <a:pt x="126" y="147"/>
                      <a:pt x="125" y="146"/>
                      <a:pt x="122" y="146"/>
                    </a:cubicBezTo>
                    <a:cubicBezTo>
                      <a:pt x="110" y="146"/>
                      <a:pt x="99" y="140"/>
                      <a:pt x="85" y="142"/>
                    </a:cubicBezTo>
                    <a:cubicBezTo>
                      <a:pt x="91" y="133"/>
                      <a:pt x="98" y="136"/>
                      <a:pt x="103" y="136"/>
                    </a:cubicBezTo>
                    <a:cubicBezTo>
                      <a:pt x="121" y="138"/>
                      <a:pt x="132" y="121"/>
                      <a:pt x="149" y="119"/>
                    </a:cubicBezTo>
                    <a:cubicBezTo>
                      <a:pt x="154" y="119"/>
                      <a:pt x="156" y="114"/>
                      <a:pt x="158" y="110"/>
                    </a:cubicBezTo>
                    <a:cubicBezTo>
                      <a:pt x="162" y="103"/>
                      <a:pt x="160" y="100"/>
                      <a:pt x="152" y="100"/>
                    </a:cubicBezTo>
                    <a:cubicBezTo>
                      <a:pt x="146" y="100"/>
                      <a:pt x="139" y="102"/>
                      <a:pt x="133" y="96"/>
                    </a:cubicBezTo>
                    <a:cubicBezTo>
                      <a:pt x="182" y="95"/>
                      <a:pt x="216" y="59"/>
                      <a:pt x="262" y="47"/>
                    </a:cubicBezTo>
                    <a:cubicBezTo>
                      <a:pt x="251" y="39"/>
                      <a:pt x="242" y="47"/>
                      <a:pt x="234" y="41"/>
                    </a:cubicBezTo>
                    <a:cubicBezTo>
                      <a:pt x="256" y="41"/>
                      <a:pt x="277" y="38"/>
                      <a:pt x="294" y="22"/>
                    </a:cubicBezTo>
                    <a:cubicBezTo>
                      <a:pt x="285" y="26"/>
                      <a:pt x="278" y="20"/>
                      <a:pt x="273" y="15"/>
                    </a:cubicBezTo>
                    <a:cubicBezTo>
                      <a:pt x="269" y="11"/>
                      <a:pt x="265" y="11"/>
                      <a:pt x="261" y="10"/>
                    </a:cubicBezTo>
                    <a:cubicBezTo>
                      <a:pt x="250" y="9"/>
                      <a:pt x="240" y="13"/>
                      <a:pt x="229" y="6"/>
                    </a:cubicBezTo>
                    <a:cubicBezTo>
                      <a:pt x="222" y="1"/>
                      <a:pt x="210" y="4"/>
                      <a:pt x="201" y="4"/>
                    </a:cubicBezTo>
                    <a:cubicBezTo>
                      <a:pt x="190" y="5"/>
                      <a:pt x="178" y="1"/>
                      <a:pt x="169" y="10"/>
                    </a:cubicBezTo>
                    <a:cubicBezTo>
                      <a:pt x="156" y="0"/>
                      <a:pt x="144" y="8"/>
                      <a:pt x="131" y="10"/>
                    </a:cubicBezTo>
                    <a:cubicBezTo>
                      <a:pt x="129" y="10"/>
                      <a:pt x="126" y="11"/>
                      <a:pt x="124" y="10"/>
                    </a:cubicBezTo>
                    <a:cubicBezTo>
                      <a:pt x="114" y="4"/>
                      <a:pt x="106" y="10"/>
                      <a:pt x="98" y="13"/>
                    </a:cubicBezTo>
                    <a:cubicBezTo>
                      <a:pt x="86" y="17"/>
                      <a:pt x="75" y="26"/>
                      <a:pt x="63" y="21"/>
                    </a:cubicBezTo>
                    <a:cubicBezTo>
                      <a:pt x="53" y="17"/>
                      <a:pt x="47" y="22"/>
                      <a:pt x="42" y="29"/>
                    </a:cubicBezTo>
                    <a:cubicBezTo>
                      <a:pt x="38" y="33"/>
                      <a:pt x="37" y="34"/>
                      <a:pt x="31" y="30"/>
                    </a:cubicBezTo>
                    <a:cubicBezTo>
                      <a:pt x="21" y="22"/>
                      <a:pt x="15" y="35"/>
                      <a:pt x="6" y="36"/>
                    </a:cubicBezTo>
                    <a:cubicBezTo>
                      <a:pt x="0" y="38"/>
                      <a:pt x="5" y="45"/>
                      <a:pt x="6" y="49"/>
                    </a:cubicBezTo>
                    <a:cubicBezTo>
                      <a:pt x="8" y="60"/>
                      <a:pt x="18" y="63"/>
                      <a:pt x="27" y="63"/>
                    </a:cubicBezTo>
                    <a:cubicBezTo>
                      <a:pt x="42" y="63"/>
                      <a:pt x="42" y="62"/>
                      <a:pt x="51" y="70"/>
                    </a:cubicBezTo>
                    <a:cubicBezTo>
                      <a:pt x="35" y="76"/>
                      <a:pt x="34" y="78"/>
                      <a:pt x="46" y="88"/>
                    </a:cubicBezTo>
                    <a:cubicBezTo>
                      <a:pt x="59" y="88"/>
                      <a:pt x="61" y="101"/>
                      <a:pt x="69" y="10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8">
                <a:extLst>
                  <a:ext uri="{FF2B5EF4-FFF2-40B4-BE49-F238E27FC236}">
                    <a16:creationId xmlns:a16="http://schemas.microsoft.com/office/drawing/2014/main" id="{71BB195B-966E-5A62-6880-BDE92975E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54" y="2065266"/>
                <a:ext cx="0" cy="2695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A8ABE129-C6AE-6D11-5107-B8CF7A045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7126" y="4059660"/>
                <a:ext cx="452782" cy="254690"/>
              </a:xfrm>
              <a:custGeom>
                <a:avLst/>
                <a:gdLst>
                  <a:gd name="T0" fmla="*/ 162 w 190"/>
                  <a:gd name="T1" fmla="*/ 61 h 107"/>
                  <a:gd name="T2" fmla="*/ 102 w 190"/>
                  <a:gd name="T3" fmla="*/ 28 h 107"/>
                  <a:gd name="T4" fmla="*/ 46 w 190"/>
                  <a:gd name="T5" fmla="*/ 30 h 107"/>
                  <a:gd name="T6" fmla="*/ 32 w 190"/>
                  <a:gd name="T7" fmla="*/ 22 h 107"/>
                  <a:gd name="T8" fmla="*/ 0 w 190"/>
                  <a:gd name="T9" fmla="*/ 12 h 107"/>
                  <a:gd name="T10" fmla="*/ 14 w 190"/>
                  <a:gd name="T11" fmla="*/ 33 h 107"/>
                  <a:gd name="T12" fmla="*/ 20 w 190"/>
                  <a:gd name="T13" fmla="*/ 39 h 107"/>
                  <a:gd name="T14" fmla="*/ 63 w 190"/>
                  <a:gd name="T15" fmla="*/ 51 h 107"/>
                  <a:gd name="T16" fmla="*/ 69 w 190"/>
                  <a:gd name="T17" fmla="*/ 76 h 107"/>
                  <a:gd name="T18" fmla="*/ 68 w 190"/>
                  <a:gd name="T19" fmla="*/ 83 h 107"/>
                  <a:gd name="T20" fmla="*/ 74 w 190"/>
                  <a:gd name="T21" fmla="*/ 84 h 107"/>
                  <a:gd name="T22" fmla="*/ 99 w 190"/>
                  <a:gd name="T23" fmla="*/ 89 h 107"/>
                  <a:gd name="T24" fmla="*/ 121 w 190"/>
                  <a:gd name="T25" fmla="*/ 88 h 107"/>
                  <a:gd name="T26" fmla="*/ 151 w 190"/>
                  <a:gd name="T27" fmla="*/ 89 h 107"/>
                  <a:gd name="T28" fmla="*/ 190 w 190"/>
                  <a:gd name="T29" fmla="*/ 107 h 107"/>
                  <a:gd name="T30" fmla="*/ 180 w 190"/>
                  <a:gd name="T31" fmla="*/ 93 h 107"/>
                  <a:gd name="T32" fmla="*/ 166 w 190"/>
                  <a:gd name="T33" fmla="*/ 66 h 107"/>
                  <a:gd name="T34" fmla="*/ 162 w 190"/>
                  <a:gd name="T35" fmla="*/ 6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0" h="107">
                    <a:moveTo>
                      <a:pt x="162" y="61"/>
                    </a:moveTo>
                    <a:cubicBezTo>
                      <a:pt x="142" y="49"/>
                      <a:pt x="125" y="34"/>
                      <a:pt x="102" y="28"/>
                    </a:cubicBezTo>
                    <a:cubicBezTo>
                      <a:pt x="83" y="22"/>
                      <a:pt x="65" y="8"/>
                      <a:pt x="46" y="30"/>
                    </a:cubicBezTo>
                    <a:cubicBezTo>
                      <a:pt x="40" y="37"/>
                      <a:pt x="34" y="30"/>
                      <a:pt x="32" y="22"/>
                    </a:cubicBezTo>
                    <a:cubicBezTo>
                      <a:pt x="28" y="3"/>
                      <a:pt x="17" y="0"/>
                      <a:pt x="0" y="12"/>
                    </a:cubicBezTo>
                    <a:cubicBezTo>
                      <a:pt x="4" y="19"/>
                      <a:pt x="17" y="20"/>
                      <a:pt x="14" y="33"/>
                    </a:cubicBezTo>
                    <a:cubicBezTo>
                      <a:pt x="13" y="35"/>
                      <a:pt x="15" y="40"/>
                      <a:pt x="20" y="39"/>
                    </a:cubicBezTo>
                    <a:cubicBezTo>
                      <a:pt x="36" y="37"/>
                      <a:pt x="49" y="47"/>
                      <a:pt x="63" y="51"/>
                    </a:cubicBezTo>
                    <a:cubicBezTo>
                      <a:pt x="76" y="55"/>
                      <a:pt x="78" y="67"/>
                      <a:pt x="69" y="76"/>
                    </a:cubicBezTo>
                    <a:cubicBezTo>
                      <a:pt x="68" y="78"/>
                      <a:pt x="66" y="80"/>
                      <a:pt x="68" y="83"/>
                    </a:cubicBezTo>
                    <a:cubicBezTo>
                      <a:pt x="69" y="86"/>
                      <a:pt x="72" y="84"/>
                      <a:pt x="74" y="84"/>
                    </a:cubicBezTo>
                    <a:cubicBezTo>
                      <a:pt x="83" y="82"/>
                      <a:pt x="91" y="82"/>
                      <a:pt x="99" y="89"/>
                    </a:cubicBezTo>
                    <a:cubicBezTo>
                      <a:pt x="104" y="95"/>
                      <a:pt x="114" y="95"/>
                      <a:pt x="121" y="88"/>
                    </a:cubicBezTo>
                    <a:cubicBezTo>
                      <a:pt x="133" y="77"/>
                      <a:pt x="142" y="75"/>
                      <a:pt x="151" y="89"/>
                    </a:cubicBezTo>
                    <a:cubicBezTo>
                      <a:pt x="161" y="103"/>
                      <a:pt x="175" y="105"/>
                      <a:pt x="190" y="107"/>
                    </a:cubicBezTo>
                    <a:cubicBezTo>
                      <a:pt x="190" y="99"/>
                      <a:pt x="184" y="97"/>
                      <a:pt x="180" y="93"/>
                    </a:cubicBezTo>
                    <a:cubicBezTo>
                      <a:pt x="172" y="85"/>
                      <a:pt x="159" y="81"/>
                      <a:pt x="166" y="66"/>
                    </a:cubicBezTo>
                    <a:cubicBezTo>
                      <a:pt x="168" y="63"/>
                      <a:pt x="164" y="62"/>
                      <a:pt x="162" y="6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0">
                <a:extLst>
                  <a:ext uri="{FF2B5EF4-FFF2-40B4-BE49-F238E27FC236}">
                    <a16:creationId xmlns:a16="http://schemas.microsoft.com/office/drawing/2014/main" id="{3770F854-A0F7-02BC-1F8B-C7AAF3D4C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0795" y="3892562"/>
                <a:ext cx="245256" cy="262775"/>
              </a:xfrm>
              <a:custGeom>
                <a:avLst/>
                <a:gdLst>
                  <a:gd name="T0" fmla="*/ 2 w 103"/>
                  <a:gd name="T1" fmla="*/ 56 h 110"/>
                  <a:gd name="T2" fmla="*/ 25 w 103"/>
                  <a:gd name="T3" fmla="*/ 102 h 110"/>
                  <a:gd name="T4" fmla="*/ 60 w 103"/>
                  <a:gd name="T5" fmla="*/ 107 h 110"/>
                  <a:gd name="T6" fmla="*/ 77 w 103"/>
                  <a:gd name="T7" fmla="*/ 96 h 110"/>
                  <a:gd name="T8" fmla="*/ 97 w 103"/>
                  <a:gd name="T9" fmla="*/ 62 h 110"/>
                  <a:gd name="T10" fmla="*/ 97 w 103"/>
                  <a:gd name="T11" fmla="*/ 52 h 110"/>
                  <a:gd name="T12" fmla="*/ 90 w 103"/>
                  <a:gd name="T13" fmla="*/ 29 h 110"/>
                  <a:gd name="T14" fmla="*/ 103 w 103"/>
                  <a:gd name="T15" fmla="*/ 17 h 110"/>
                  <a:gd name="T16" fmla="*/ 88 w 103"/>
                  <a:gd name="T17" fmla="*/ 7 h 110"/>
                  <a:gd name="T18" fmla="*/ 84 w 103"/>
                  <a:gd name="T19" fmla="*/ 3 h 110"/>
                  <a:gd name="T20" fmla="*/ 79 w 103"/>
                  <a:gd name="T21" fmla="*/ 2 h 110"/>
                  <a:gd name="T22" fmla="*/ 48 w 103"/>
                  <a:gd name="T23" fmla="*/ 29 h 110"/>
                  <a:gd name="T24" fmla="*/ 47 w 103"/>
                  <a:gd name="T25" fmla="*/ 30 h 110"/>
                  <a:gd name="T26" fmla="*/ 31 w 103"/>
                  <a:gd name="T27" fmla="*/ 42 h 110"/>
                  <a:gd name="T28" fmla="*/ 25 w 103"/>
                  <a:gd name="T29" fmla="*/ 47 h 110"/>
                  <a:gd name="T30" fmla="*/ 13 w 103"/>
                  <a:gd name="T31" fmla="*/ 51 h 110"/>
                  <a:gd name="T32" fmla="*/ 2 w 103"/>
                  <a:gd name="T33" fmla="*/ 56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3" h="110">
                    <a:moveTo>
                      <a:pt x="2" y="56"/>
                    </a:moveTo>
                    <a:cubicBezTo>
                      <a:pt x="0" y="65"/>
                      <a:pt x="17" y="100"/>
                      <a:pt x="25" y="102"/>
                    </a:cubicBezTo>
                    <a:cubicBezTo>
                      <a:pt x="38" y="105"/>
                      <a:pt x="52" y="101"/>
                      <a:pt x="60" y="107"/>
                    </a:cubicBezTo>
                    <a:cubicBezTo>
                      <a:pt x="74" y="110"/>
                      <a:pt x="75" y="103"/>
                      <a:pt x="77" y="96"/>
                    </a:cubicBezTo>
                    <a:cubicBezTo>
                      <a:pt x="82" y="84"/>
                      <a:pt x="84" y="70"/>
                      <a:pt x="97" y="62"/>
                    </a:cubicBezTo>
                    <a:cubicBezTo>
                      <a:pt x="103" y="59"/>
                      <a:pt x="101" y="56"/>
                      <a:pt x="97" y="52"/>
                    </a:cubicBezTo>
                    <a:cubicBezTo>
                      <a:pt x="90" y="46"/>
                      <a:pt x="87" y="38"/>
                      <a:pt x="90" y="29"/>
                    </a:cubicBezTo>
                    <a:cubicBezTo>
                      <a:pt x="93" y="23"/>
                      <a:pt x="103" y="24"/>
                      <a:pt x="103" y="17"/>
                    </a:cubicBezTo>
                    <a:cubicBezTo>
                      <a:pt x="103" y="7"/>
                      <a:pt x="89" y="17"/>
                      <a:pt x="88" y="7"/>
                    </a:cubicBezTo>
                    <a:cubicBezTo>
                      <a:pt x="88" y="5"/>
                      <a:pt x="86" y="4"/>
                      <a:pt x="84" y="3"/>
                    </a:cubicBezTo>
                    <a:cubicBezTo>
                      <a:pt x="83" y="1"/>
                      <a:pt x="80" y="0"/>
                      <a:pt x="79" y="2"/>
                    </a:cubicBezTo>
                    <a:cubicBezTo>
                      <a:pt x="72" y="15"/>
                      <a:pt x="62" y="24"/>
                      <a:pt x="48" y="29"/>
                    </a:cubicBezTo>
                    <a:cubicBezTo>
                      <a:pt x="48" y="29"/>
                      <a:pt x="47" y="30"/>
                      <a:pt x="47" y="30"/>
                    </a:cubicBezTo>
                    <a:cubicBezTo>
                      <a:pt x="45" y="38"/>
                      <a:pt x="40" y="43"/>
                      <a:pt x="31" y="42"/>
                    </a:cubicBezTo>
                    <a:cubicBezTo>
                      <a:pt x="28" y="42"/>
                      <a:pt x="26" y="43"/>
                      <a:pt x="25" y="47"/>
                    </a:cubicBezTo>
                    <a:cubicBezTo>
                      <a:pt x="24" y="55"/>
                      <a:pt x="20" y="56"/>
                      <a:pt x="13" y="51"/>
                    </a:cubicBezTo>
                    <a:cubicBezTo>
                      <a:pt x="7" y="48"/>
                      <a:pt x="4" y="51"/>
                      <a:pt x="2" y="5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1">
                <a:extLst>
                  <a:ext uri="{FF2B5EF4-FFF2-40B4-BE49-F238E27FC236}">
                    <a16:creationId xmlns:a16="http://schemas.microsoft.com/office/drawing/2014/main" id="{D7632600-A7DB-B5B3-17F9-CE0D43507C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5139" y="4343995"/>
                <a:ext cx="198092" cy="334196"/>
              </a:xfrm>
              <a:custGeom>
                <a:avLst/>
                <a:gdLst>
                  <a:gd name="T0" fmla="*/ 58 w 83"/>
                  <a:gd name="T1" fmla="*/ 8 h 140"/>
                  <a:gd name="T2" fmla="*/ 16 w 83"/>
                  <a:gd name="T3" fmla="*/ 39 h 140"/>
                  <a:gd name="T4" fmla="*/ 11 w 83"/>
                  <a:gd name="T5" fmla="*/ 47 h 140"/>
                  <a:gd name="T6" fmla="*/ 13 w 83"/>
                  <a:gd name="T7" fmla="*/ 76 h 140"/>
                  <a:gd name="T8" fmla="*/ 10 w 83"/>
                  <a:gd name="T9" fmla="*/ 88 h 140"/>
                  <a:gd name="T10" fmla="*/ 7 w 83"/>
                  <a:gd name="T11" fmla="*/ 127 h 140"/>
                  <a:gd name="T12" fmla="*/ 24 w 83"/>
                  <a:gd name="T13" fmla="*/ 140 h 140"/>
                  <a:gd name="T14" fmla="*/ 42 w 83"/>
                  <a:gd name="T15" fmla="*/ 128 h 140"/>
                  <a:gd name="T16" fmla="*/ 59 w 83"/>
                  <a:gd name="T17" fmla="*/ 74 h 140"/>
                  <a:gd name="T18" fmla="*/ 67 w 83"/>
                  <a:gd name="T19" fmla="*/ 41 h 140"/>
                  <a:gd name="T20" fmla="*/ 68 w 83"/>
                  <a:gd name="T21" fmla="*/ 9 h 140"/>
                  <a:gd name="T22" fmla="*/ 58 w 83"/>
                  <a:gd name="T23" fmla="*/ 8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" h="140">
                    <a:moveTo>
                      <a:pt x="58" y="8"/>
                    </a:moveTo>
                    <a:cubicBezTo>
                      <a:pt x="48" y="23"/>
                      <a:pt x="39" y="40"/>
                      <a:pt x="16" y="39"/>
                    </a:cubicBezTo>
                    <a:cubicBezTo>
                      <a:pt x="13" y="39"/>
                      <a:pt x="12" y="43"/>
                      <a:pt x="11" y="47"/>
                    </a:cubicBezTo>
                    <a:cubicBezTo>
                      <a:pt x="9" y="58"/>
                      <a:pt x="6" y="68"/>
                      <a:pt x="13" y="76"/>
                    </a:cubicBezTo>
                    <a:cubicBezTo>
                      <a:pt x="12" y="82"/>
                      <a:pt x="12" y="86"/>
                      <a:pt x="10" y="88"/>
                    </a:cubicBezTo>
                    <a:cubicBezTo>
                      <a:pt x="0" y="100"/>
                      <a:pt x="4" y="113"/>
                      <a:pt x="7" y="127"/>
                    </a:cubicBezTo>
                    <a:cubicBezTo>
                      <a:pt x="10" y="136"/>
                      <a:pt x="15" y="140"/>
                      <a:pt x="24" y="140"/>
                    </a:cubicBezTo>
                    <a:cubicBezTo>
                      <a:pt x="32" y="139"/>
                      <a:pt x="39" y="138"/>
                      <a:pt x="42" y="128"/>
                    </a:cubicBezTo>
                    <a:cubicBezTo>
                      <a:pt x="47" y="110"/>
                      <a:pt x="53" y="91"/>
                      <a:pt x="59" y="74"/>
                    </a:cubicBezTo>
                    <a:cubicBezTo>
                      <a:pt x="63" y="63"/>
                      <a:pt x="61" y="46"/>
                      <a:pt x="67" y="41"/>
                    </a:cubicBezTo>
                    <a:cubicBezTo>
                      <a:pt x="83" y="29"/>
                      <a:pt x="68" y="19"/>
                      <a:pt x="68" y="9"/>
                    </a:cubicBezTo>
                    <a:cubicBezTo>
                      <a:pt x="68" y="2"/>
                      <a:pt x="63" y="0"/>
                      <a:pt x="58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id="{FE34C2D3-D253-1378-9AD4-1E1439140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2097" y="1693337"/>
                <a:ext cx="429874" cy="304549"/>
              </a:xfrm>
              <a:custGeom>
                <a:avLst/>
                <a:gdLst>
                  <a:gd name="T0" fmla="*/ 25 w 180"/>
                  <a:gd name="T1" fmla="*/ 123 h 128"/>
                  <a:gd name="T2" fmla="*/ 29 w 180"/>
                  <a:gd name="T3" fmla="*/ 124 h 128"/>
                  <a:gd name="T4" fmla="*/ 49 w 180"/>
                  <a:gd name="T5" fmla="*/ 127 h 128"/>
                  <a:gd name="T6" fmla="*/ 57 w 180"/>
                  <a:gd name="T7" fmla="*/ 125 h 128"/>
                  <a:gd name="T8" fmla="*/ 53 w 180"/>
                  <a:gd name="T9" fmla="*/ 117 h 128"/>
                  <a:gd name="T10" fmla="*/ 48 w 180"/>
                  <a:gd name="T11" fmla="*/ 85 h 128"/>
                  <a:gd name="T12" fmla="*/ 79 w 180"/>
                  <a:gd name="T13" fmla="*/ 52 h 128"/>
                  <a:gd name="T14" fmla="*/ 160 w 180"/>
                  <a:gd name="T15" fmla="*/ 20 h 128"/>
                  <a:gd name="T16" fmla="*/ 175 w 180"/>
                  <a:gd name="T17" fmla="*/ 8 h 128"/>
                  <a:gd name="T18" fmla="*/ 153 w 180"/>
                  <a:gd name="T19" fmla="*/ 6 h 128"/>
                  <a:gd name="T20" fmla="*/ 112 w 180"/>
                  <a:gd name="T21" fmla="*/ 16 h 128"/>
                  <a:gd name="T22" fmla="*/ 76 w 180"/>
                  <a:gd name="T23" fmla="*/ 26 h 128"/>
                  <a:gd name="T24" fmla="*/ 51 w 180"/>
                  <a:gd name="T25" fmla="*/ 40 h 128"/>
                  <a:gd name="T26" fmla="*/ 19 w 180"/>
                  <a:gd name="T27" fmla="*/ 81 h 128"/>
                  <a:gd name="T28" fmla="*/ 14 w 180"/>
                  <a:gd name="T29" fmla="*/ 85 h 128"/>
                  <a:gd name="T30" fmla="*/ 0 w 180"/>
                  <a:gd name="T31" fmla="*/ 102 h 128"/>
                  <a:gd name="T32" fmla="*/ 25 w 180"/>
                  <a:gd name="T33" fmla="*/ 12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0" h="128">
                    <a:moveTo>
                      <a:pt x="25" y="123"/>
                    </a:moveTo>
                    <a:cubicBezTo>
                      <a:pt x="25" y="124"/>
                      <a:pt x="27" y="124"/>
                      <a:pt x="29" y="124"/>
                    </a:cubicBezTo>
                    <a:cubicBezTo>
                      <a:pt x="36" y="124"/>
                      <a:pt x="43" y="123"/>
                      <a:pt x="49" y="127"/>
                    </a:cubicBezTo>
                    <a:cubicBezTo>
                      <a:pt x="52" y="128"/>
                      <a:pt x="56" y="128"/>
                      <a:pt x="57" y="125"/>
                    </a:cubicBezTo>
                    <a:cubicBezTo>
                      <a:pt x="60" y="121"/>
                      <a:pt x="56" y="120"/>
                      <a:pt x="53" y="117"/>
                    </a:cubicBezTo>
                    <a:cubicBezTo>
                      <a:pt x="42" y="108"/>
                      <a:pt x="37" y="98"/>
                      <a:pt x="48" y="85"/>
                    </a:cubicBezTo>
                    <a:cubicBezTo>
                      <a:pt x="58" y="74"/>
                      <a:pt x="66" y="60"/>
                      <a:pt x="79" y="52"/>
                    </a:cubicBezTo>
                    <a:cubicBezTo>
                      <a:pt x="105" y="37"/>
                      <a:pt x="131" y="27"/>
                      <a:pt x="160" y="20"/>
                    </a:cubicBezTo>
                    <a:cubicBezTo>
                      <a:pt x="164" y="19"/>
                      <a:pt x="180" y="20"/>
                      <a:pt x="175" y="8"/>
                    </a:cubicBezTo>
                    <a:cubicBezTo>
                      <a:pt x="172" y="0"/>
                      <a:pt x="161" y="3"/>
                      <a:pt x="153" y="6"/>
                    </a:cubicBezTo>
                    <a:cubicBezTo>
                      <a:pt x="140" y="12"/>
                      <a:pt x="127" y="17"/>
                      <a:pt x="112" y="16"/>
                    </a:cubicBezTo>
                    <a:cubicBezTo>
                      <a:pt x="100" y="16"/>
                      <a:pt x="88" y="21"/>
                      <a:pt x="76" y="26"/>
                    </a:cubicBezTo>
                    <a:cubicBezTo>
                      <a:pt x="67" y="30"/>
                      <a:pt x="55" y="33"/>
                      <a:pt x="51" y="40"/>
                    </a:cubicBezTo>
                    <a:cubicBezTo>
                      <a:pt x="43" y="56"/>
                      <a:pt x="31" y="68"/>
                      <a:pt x="19" y="81"/>
                    </a:cubicBezTo>
                    <a:cubicBezTo>
                      <a:pt x="17" y="82"/>
                      <a:pt x="13" y="82"/>
                      <a:pt x="14" y="85"/>
                    </a:cubicBezTo>
                    <a:cubicBezTo>
                      <a:pt x="18" y="99"/>
                      <a:pt x="6" y="98"/>
                      <a:pt x="0" y="102"/>
                    </a:cubicBezTo>
                    <a:cubicBezTo>
                      <a:pt x="4" y="115"/>
                      <a:pt x="23" y="108"/>
                      <a:pt x="25" y="12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13">
                <a:extLst>
                  <a:ext uri="{FF2B5EF4-FFF2-40B4-BE49-F238E27FC236}">
                    <a16:creationId xmlns:a16="http://schemas.microsoft.com/office/drawing/2014/main" id="{7BB2AC6F-4241-7A13-C4B8-EC1381472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91" y="2456059"/>
                <a:ext cx="207525" cy="281641"/>
              </a:xfrm>
              <a:custGeom>
                <a:avLst/>
                <a:gdLst>
                  <a:gd name="T0" fmla="*/ 29 w 87"/>
                  <a:gd name="T1" fmla="*/ 56 h 118"/>
                  <a:gd name="T2" fmla="*/ 37 w 87"/>
                  <a:gd name="T3" fmla="*/ 66 h 118"/>
                  <a:gd name="T4" fmla="*/ 33 w 87"/>
                  <a:gd name="T5" fmla="*/ 76 h 118"/>
                  <a:gd name="T6" fmla="*/ 25 w 87"/>
                  <a:gd name="T7" fmla="*/ 88 h 118"/>
                  <a:gd name="T8" fmla="*/ 17 w 87"/>
                  <a:gd name="T9" fmla="*/ 97 h 118"/>
                  <a:gd name="T10" fmla="*/ 33 w 87"/>
                  <a:gd name="T11" fmla="*/ 102 h 118"/>
                  <a:gd name="T12" fmla="*/ 19 w 87"/>
                  <a:gd name="T13" fmla="*/ 116 h 118"/>
                  <a:gd name="T14" fmla="*/ 19 w 87"/>
                  <a:gd name="T15" fmla="*/ 116 h 118"/>
                  <a:gd name="T16" fmla="*/ 53 w 87"/>
                  <a:gd name="T17" fmla="*/ 110 h 118"/>
                  <a:gd name="T18" fmla="*/ 83 w 87"/>
                  <a:gd name="T19" fmla="*/ 93 h 118"/>
                  <a:gd name="T20" fmla="*/ 78 w 87"/>
                  <a:gd name="T21" fmla="*/ 81 h 118"/>
                  <a:gd name="T22" fmla="*/ 67 w 87"/>
                  <a:gd name="T23" fmla="*/ 68 h 118"/>
                  <a:gd name="T24" fmla="*/ 63 w 87"/>
                  <a:gd name="T25" fmla="*/ 59 h 118"/>
                  <a:gd name="T26" fmla="*/ 50 w 87"/>
                  <a:gd name="T27" fmla="*/ 13 h 118"/>
                  <a:gd name="T28" fmla="*/ 30 w 87"/>
                  <a:gd name="T29" fmla="*/ 13 h 118"/>
                  <a:gd name="T30" fmla="*/ 32 w 87"/>
                  <a:gd name="T31" fmla="*/ 2 h 118"/>
                  <a:gd name="T32" fmla="*/ 19 w 87"/>
                  <a:gd name="T33" fmla="*/ 2 h 118"/>
                  <a:gd name="T34" fmla="*/ 5 w 87"/>
                  <a:gd name="T35" fmla="*/ 21 h 118"/>
                  <a:gd name="T36" fmla="*/ 29 w 87"/>
                  <a:gd name="T37" fmla="*/ 5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7" h="118">
                    <a:moveTo>
                      <a:pt x="29" y="56"/>
                    </a:moveTo>
                    <a:cubicBezTo>
                      <a:pt x="35" y="57"/>
                      <a:pt x="36" y="62"/>
                      <a:pt x="37" y="66"/>
                    </a:cubicBezTo>
                    <a:cubicBezTo>
                      <a:pt x="38" y="70"/>
                      <a:pt x="38" y="76"/>
                      <a:pt x="33" y="76"/>
                    </a:cubicBezTo>
                    <a:cubicBezTo>
                      <a:pt x="23" y="76"/>
                      <a:pt x="20" y="79"/>
                      <a:pt x="25" y="88"/>
                    </a:cubicBezTo>
                    <a:cubicBezTo>
                      <a:pt x="27" y="93"/>
                      <a:pt x="18" y="93"/>
                      <a:pt x="17" y="97"/>
                    </a:cubicBezTo>
                    <a:cubicBezTo>
                      <a:pt x="23" y="99"/>
                      <a:pt x="29" y="97"/>
                      <a:pt x="33" y="102"/>
                    </a:cubicBezTo>
                    <a:cubicBezTo>
                      <a:pt x="27" y="105"/>
                      <a:pt x="20" y="108"/>
                      <a:pt x="19" y="116"/>
                    </a:cubicBezTo>
                    <a:cubicBezTo>
                      <a:pt x="19" y="116"/>
                      <a:pt x="19" y="116"/>
                      <a:pt x="19" y="116"/>
                    </a:cubicBezTo>
                    <a:cubicBezTo>
                      <a:pt x="31" y="118"/>
                      <a:pt x="42" y="111"/>
                      <a:pt x="53" y="110"/>
                    </a:cubicBezTo>
                    <a:cubicBezTo>
                      <a:pt x="74" y="108"/>
                      <a:pt x="74" y="108"/>
                      <a:pt x="83" y="93"/>
                    </a:cubicBezTo>
                    <a:cubicBezTo>
                      <a:pt x="87" y="86"/>
                      <a:pt x="86" y="81"/>
                      <a:pt x="78" y="81"/>
                    </a:cubicBezTo>
                    <a:cubicBezTo>
                      <a:pt x="70" y="80"/>
                      <a:pt x="68" y="75"/>
                      <a:pt x="67" y="68"/>
                    </a:cubicBezTo>
                    <a:cubicBezTo>
                      <a:pt x="67" y="64"/>
                      <a:pt x="65" y="62"/>
                      <a:pt x="63" y="59"/>
                    </a:cubicBezTo>
                    <a:cubicBezTo>
                      <a:pt x="52" y="46"/>
                      <a:pt x="37" y="37"/>
                      <a:pt x="50" y="13"/>
                    </a:cubicBezTo>
                    <a:cubicBezTo>
                      <a:pt x="42" y="13"/>
                      <a:pt x="36" y="13"/>
                      <a:pt x="30" y="13"/>
                    </a:cubicBezTo>
                    <a:cubicBezTo>
                      <a:pt x="28" y="9"/>
                      <a:pt x="38" y="6"/>
                      <a:pt x="32" y="2"/>
                    </a:cubicBezTo>
                    <a:cubicBezTo>
                      <a:pt x="29" y="0"/>
                      <a:pt x="23" y="1"/>
                      <a:pt x="19" y="2"/>
                    </a:cubicBezTo>
                    <a:cubicBezTo>
                      <a:pt x="12" y="6"/>
                      <a:pt x="14" y="16"/>
                      <a:pt x="5" y="21"/>
                    </a:cubicBezTo>
                    <a:cubicBezTo>
                      <a:pt x="0" y="23"/>
                      <a:pt x="19" y="54"/>
                      <a:pt x="29" y="5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14">
                <a:extLst>
                  <a:ext uri="{FF2B5EF4-FFF2-40B4-BE49-F238E27FC236}">
                    <a16:creationId xmlns:a16="http://schemas.microsoft.com/office/drawing/2014/main" id="{66FEC91D-A02A-363B-9DF8-21C011821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7436" y="1452124"/>
                <a:ext cx="278946" cy="195397"/>
              </a:xfrm>
              <a:custGeom>
                <a:avLst/>
                <a:gdLst>
                  <a:gd name="T0" fmla="*/ 45 w 117"/>
                  <a:gd name="T1" fmla="*/ 52 h 82"/>
                  <a:gd name="T2" fmla="*/ 32 w 117"/>
                  <a:gd name="T3" fmla="*/ 59 h 82"/>
                  <a:gd name="T4" fmla="*/ 89 w 117"/>
                  <a:gd name="T5" fmla="*/ 68 h 82"/>
                  <a:gd name="T6" fmla="*/ 109 w 117"/>
                  <a:gd name="T7" fmla="*/ 57 h 82"/>
                  <a:gd name="T8" fmla="*/ 116 w 117"/>
                  <a:gd name="T9" fmla="*/ 52 h 82"/>
                  <a:gd name="T10" fmla="*/ 110 w 117"/>
                  <a:gd name="T11" fmla="*/ 45 h 82"/>
                  <a:gd name="T12" fmla="*/ 99 w 117"/>
                  <a:gd name="T13" fmla="*/ 44 h 82"/>
                  <a:gd name="T14" fmla="*/ 83 w 117"/>
                  <a:gd name="T15" fmla="*/ 29 h 82"/>
                  <a:gd name="T16" fmla="*/ 44 w 117"/>
                  <a:gd name="T17" fmla="*/ 6 h 82"/>
                  <a:gd name="T18" fmla="*/ 29 w 117"/>
                  <a:gd name="T19" fmla="*/ 8 h 82"/>
                  <a:gd name="T20" fmla="*/ 19 w 117"/>
                  <a:gd name="T21" fmla="*/ 21 h 82"/>
                  <a:gd name="T22" fmla="*/ 18 w 117"/>
                  <a:gd name="T23" fmla="*/ 32 h 82"/>
                  <a:gd name="T24" fmla="*/ 6 w 117"/>
                  <a:gd name="T25" fmla="*/ 37 h 82"/>
                  <a:gd name="T26" fmla="*/ 45 w 117"/>
                  <a:gd name="T27" fmla="*/ 5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7" h="82">
                    <a:moveTo>
                      <a:pt x="45" y="52"/>
                    </a:moveTo>
                    <a:cubicBezTo>
                      <a:pt x="43" y="60"/>
                      <a:pt x="35" y="54"/>
                      <a:pt x="32" y="59"/>
                    </a:cubicBezTo>
                    <a:cubicBezTo>
                      <a:pt x="42" y="81"/>
                      <a:pt x="74" y="82"/>
                      <a:pt x="89" y="68"/>
                    </a:cubicBezTo>
                    <a:cubicBezTo>
                      <a:pt x="94" y="63"/>
                      <a:pt x="99" y="55"/>
                      <a:pt x="109" y="57"/>
                    </a:cubicBezTo>
                    <a:cubicBezTo>
                      <a:pt x="112" y="57"/>
                      <a:pt x="115" y="55"/>
                      <a:pt x="116" y="52"/>
                    </a:cubicBezTo>
                    <a:cubicBezTo>
                      <a:pt x="117" y="47"/>
                      <a:pt x="111" y="48"/>
                      <a:pt x="110" y="45"/>
                    </a:cubicBezTo>
                    <a:cubicBezTo>
                      <a:pt x="106" y="45"/>
                      <a:pt x="99" y="45"/>
                      <a:pt x="99" y="44"/>
                    </a:cubicBezTo>
                    <a:cubicBezTo>
                      <a:pt x="97" y="34"/>
                      <a:pt x="91" y="34"/>
                      <a:pt x="83" y="29"/>
                    </a:cubicBezTo>
                    <a:cubicBezTo>
                      <a:pt x="70" y="22"/>
                      <a:pt x="55" y="17"/>
                      <a:pt x="44" y="6"/>
                    </a:cubicBezTo>
                    <a:cubicBezTo>
                      <a:pt x="39" y="1"/>
                      <a:pt x="35" y="0"/>
                      <a:pt x="29" y="8"/>
                    </a:cubicBezTo>
                    <a:cubicBezTo>
                      <a:pt x="27" y="12"/>
                      <a:pt x="27" y="20"/>
                      <a:pt x="19" y="21"/>
                    </a:cubicBezTo>
                    <a:cubicBezTo>
                      <a:pt x="0" y="23"/>
                      <a:pt x="17" y="28"/>
                      <a:pt x="18" y="32"/>
                    </a:cubicBezTo>
                    <a:cubicBezTo>
                      <a:pt x="14" y="35"/>
                      <a:pt x="8" y="32"/>
                      <a:pt x="6" y="37"/>
                    </a:cubicBezTo>
                    <a:cubicBezTo>
                      <a:pt x="13" y="56"/>
                      <a:pt x="31" y="49"/>
                      <a:pt x="45" y="5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5">
                <a:extLst>
                  <a:ext uri="{FF2B5EF4-FFF2-40B4-BE49-F238E27FC236}">
                    <a16:creationId xmlns:a16="http://schemas.microsoft.com/office/drawing/2014/main" id="{3CD8B4C2-7574-0A6D-AF42-33DC0BEF3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863" y="155992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6">
                <a:extLst>
                  <a:ext uri="{FF2B5EF4-FFF2-40B4-BE49-F238E27FC236}">
                    <a16:creationId xmlns:a16="http://schemas.microsoft.com/office/drawing/2014/main" id="{5601D97E-591E-68BD-446E-C055BDBFB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8588" y="1535672"/>
                <a:ext cx="320720" cy="180573"/>
              </a:xfrm>
              <a:custGeom>
                <a:avLst/>
                <a:gdLst>
                  <a:gd name="T0" fmla="*/ 11 w 134"/>
                  <a:gd name="T1" fmla="*/ 21 h 76"/>
                  <a:gd name="T2" fmla="*/ 9 w 134"/>
                  <a:gd name="T3" fmla="*/ 26 h 76"/>
                  <a:gd name="T4" fmla="*/ 20 w 134"/>
                  <a:gd name="T5" fmla="*/ 39 h 76"/>
                  <a:gd name="T6" fmla="*/ 32 w 134"/>
                  <a:gd name="T7" fmla="*/ 38 h 76"/>
                  <a:gd name="T8" fmla="*/ 53 w 134"/>
                  <a:gd name="T9" fmla="*/ 36 h 76"/>
                  <a:gd name="T10" fmla="*/ 43 w 134"/>
                  <a:gd name="T11" fmla="*/ 41 h 76"/>
                  <a:gd name="T12" fmla="*/ 34 w 134"/>
                  <a:gd name="T13" fmla="*/ 60 h 76"/>
                  <a:gd name="T14" fmla="*/ 52 w 134"/>
                  <a:gd name="T15" fmla="*/ 74 h 76"/>
                  <a:gd name="T16" fmla="*/ 59 w 134"/>
                  <a:gd name="T17" fmla="*/ 72 h 76"/>
                  <a:gd name="T18" fmla="*/ 78 w 134"/>
                  <a:gd name="T19" fmla="*/ 43 h 76"/>
                  <a:gd name="T20" fmla="*/ 92 w 134"/>
                  <a:gd name="T21" fmla="*/ 33 h 76"/>
                  <a:gd name="T22" fmla="*/ 103 w 134"/>
                  <a:gd name="T23" fmla="*/ 47 h 76"/>
                  <a:gd name="T24" fmla="*/ 105 w 134"/>
                  <a:gd name="T25" fmla="*/ 56 h 76"/>
                  <a:gd name="T26" fmla="*/ 134 w 134"/>
                  <a:gd name="T27" fmla="*/ 47 h 76"/>
                  <a:gd name="T28" fmla="*/ 120 w 134"/>
                  <a:gd name="T29" fmla="*/ 42 h 76"/>
                  <a:gd name="T30" fmla="*/ 79 w 134"/>
                  <a:gd name="T31" fmla="*/ 13 h 76"/>
                  <a:gd name="T32" fmla="*/ 68 w 134"/>
                  <a:gd name="T33" fmla="*/ 10 h 76"/>
                  <a:gd name="T34" fmla="*/ 52 w 134"/>
                  <a:gd name="T35" fmla="*/ 4 h 76"/>
                  <a:gd name="T36" fmla="*/ 54 w 134"/>
                  <a:gd name="T37" fmla="*/ 13 h 76"/>
                  <a:gd name="T38" fmla="*/ 53 w 134"/>
                  <a:gd name="T39" fmla="*/ 19 h 76"/>
                  <a:gd name="T40" fmla="*/ 40 w 134"/>
                  <a:gd name="T41" fmla="*/ 5 h 76"/>
                  <a:gd name="T42" fmla="*/ 36 w 134"/>
                  <a:gd name="T43" fmla="*/ 10 h 76"/>
                  <a:gd name="T44" fmla="*/ 32 w 134"/>
                  <a:gd name="T45" fmla="*/ 15 h 76"/>
                  <a:gd name="T46" fmla="*/ 27 w 134"/>
                  <a:gd name="T47" fmla="*/ 7 h 76"/>
                  <a:gd name="T48" fmla="*/ 28 w 134"/>
                  <a:gd name="T49" fmla="*/ 4 h 76"/>
                  <a:gd name="T50" fmla="*/ 6 w 134"/>
                  <a:gd name="T51" fmla="*/ 7 h 76"/>
                  <a:gd name="T52" fmla="*/ 11 w 134"/>
                  <a:gd name="T53" fmla="*/ 2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34" h="76">
                    <a:moveTo>
                      <a:pt x="11" y="21"/>
                    </a:moveTo>
                    <a:cubicBezTo>
                      <a:pt x="10" y="22"/>
                      <a:pt x="9" y="24"/>
                      <a:pt x="9" y="26"/>
                    </a:cubicBezTo>
                    <a:cubicBezTo>
                      <a:pt x="9" y="33"/>
                      <a:pt x="15" y="37"/>
                      <a:pt x="20" y="39"/>
                    </a:cubicBezTo>
                    <a:cubicBezTo>
                      <a:pt x="23" y="41"/>
                      <a:pt x="31" y="42"/>
                      <a:pt x="32" y="38"/>
                    </a:cubicBezTo>
                    <a:cubicBezTo>
                      <a:pt x="38" y="23"/>
                      <a:pt x="46" y="32"/>
                      <a:pt x="53" y="36"/>
                    </a:cubicBezTo>
                    <a:cubicBezTo>
                      <a:pt x="51" y="41"/>
                      <a:pt x="46" y="39"/>
                      <a:pt x="43" y="41"/>
                    </a:cubicBezTo>
                    <a:cubicBezTo>
                      <a:pt x="36" y="44"/>
                      <a:pt x="30" y="55"/>
                      <a:pt x="34" y="60"/>
                    </a:cubicBezTo>
                    <a:cubicBezTo>
                      <a:pt x="39" y="65"/>
                      <a:pt x="46" y="69"/>
                      <a:pt x="52" y="74"/>
                    </a:cubicBezTo>
                    <a:cubicBezTo>
                      <a:pt x="55" y="76"/>
                      <a:pt x="58" y="76"/>
                      <a:pt x="59" y="72"/>
                    </a:cubicBezTo>
                    <a:cubicBezTo>
                      <a:pt x="63" y="61"/>
                      <a:pt x="74" y="54"/>
                      <a:pt x="78" y="43"/>
                    </a:cubicBezTo>
                    <a:cubicBezTo>
                      <a:pt x="80" y="36"/>
                      <a:pt x="86" y="31"/>
                      <a:pt x="92" y="33"/>
                    </a:cubicBezTo>
                    <a:cubicBezTo>
                      <a:pt x="98" y="35"/>
                      <a:pt x="102" y="41"/>
                      <a:pt x="103" y="47"/>
                    </a:cubicBezTo>
                    <a:cubicBezTo>
                      <a:pt x="103" y="50"/>
                      <a:pt x="100" y="55"/>
                      <a:pt x="105" y="56"/>
                    </a:cubicBezTo>
                    <a:cubicBezTo>
                      <a:pt x="116" y="58"/>
                      <a:pt x="128" y="63"/>
                      <a:pt x="134" y="47"/>
                    </a:cubicBezTo>
                    <a:cubicBezTo>
                      <a:pt x="130" y="45"/>
                      <a:pt x="125" y="45"/>
                      <a:pt x="120" y="42"/>
                    </a:cubicBezTo>
                    <a:cubicBezTo>
                      <a:pt x="106" y="32"/>
                      <a:pt x="95" y="19"/>
                      <a:pt x="79" y="13"/>
                    </a:cubicBezTo>
                    <a:cubicBezTo>
                      <a:pt x="75" y="11"/>
                      <a:pt x="69" y="18"/>
                      <a:pt x="68" y="10"/>
                    </a:cubicBezTo>
                    <a:cubicBezTo>
                      <a:pt x="66" y="0"/>
                      <a:pt x="58" y="2"/>
                      <a:pt x="52" y="4"/>
                    </a:cubicBezTo>
                    <a:cubicBezTo>
                      <a:pt x="40" y="8"/>
                      <a:pt x="56" y="9"/>
                      <a:pt x="54" y="13"/>
                    </a:cubicBezTo>
                    <a:cubicBezTo>
                      <a:pt x="53" y="15"/>
                      <a:pt x="53" y="17"/>
                      <a:pt x="53" y="19"/>
                    </a:cubicBezTo>
                    <a:cubicBezTo>
                      <a:pt x="45" y="17"/>
                      <a:pt x="47" y="7"/>
                      <a:pt x="40" y="5"/>
                    </a:cubicBezTo>
                    <a:cubicBezTo>
                      <a:pt x="38" y="6"/>
                      <a:pt x="36" y="7"/>
                      <a:pt x="36" y="10"/>
                    </a:cubicBezTo>
                    <a:cubicBezTo>
                      <a:pt x="36" y="13"/>
                      <a:pt x="36" y="17"/>
                      <a:pt x="32" y="15"/>
                    </a:cubicBezTo>
                    <a:cubicBezTo>
                      <a:pt x="30" y="14"/>
                      <a:pt x="25" y="11"/>
                      <a:pt x="27" y="7"/>
                    </a:cubicBezTo>
                    <a:cubicBezTo>
                      <a:pt x="28" y="6"/>
                      <a:pt x="33" y="5"/>
                      <a:pt x="28" y="4"/>
                    </a:cubicBezTo>
                    <a:cubicBezTo>
                      <a:pt x="21" y="4"/>
                      <a:pt x="12" y="1"/>
                      <a:pt x="6" y="7"/>
                    </a:cubicBezTo>
                    <a:cubicBezTo>
                      <a:pt x="0" y="13"/>
                      <a:pt x="2" y="19"/>
                      <a:pt x="11" y="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17">
                <a:extLst>
                  <a:ext uri="{FF2B5EF4-FFF2-40B4-BE49-F238E27FC236}">
                    <a16:creationId xmlns:a16="http://schemas.microsoft.com/office/drawing/2014/main" id="{3F1405FE-7AC1-C30A-3C0E-8263AC632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0856" y="3926250"/>
                <a:ext cx="266817" cy="278945"/>
              </a:xfrm>
              <a:custGeom>
                <a:avLst/>
                <a:gdLst>
                  <a:gd name="T0" fmla="*/ 104 w 112"/>
                  <a:gd name="T1" fmla="*/ 102 h 117"/>
                  <a:gd name="T2" fmla="*/ 109 w 112"/>
                  <a:gd name="T3" fmla="*/ 85 h 117"/>
                  <a:gd name="T4" fmla="*/ 108 w 112"/>
                  <a:gd name="T5" fmla="*/ 77 h 117"/>
                  <a:gd name="T6" fmla="*/ 103 w 112"/>
                  <a:gd name="T7" fmla="*/ 77 h 117"/>
                  <a:gd name="T8" fmla="*/ 96 w 112"/>
                  <a:gd name="T9" fmla="*/ 80 h 117"/>
                  <a:gd name="T10" fmla="*/ 80 w 112"/>
                  <a:gd name="T11" fmla="*/ 63 h 117"/>
                  <a:gd name="T12" fmla="*/ 52 w 112"/>
                  <a:gd name="T13" fmla="*/ 34 h 117"/>
                  <a:gd name="T14" fmla="*/ 44 w 112"/>
                  <a:gd name="T15" fmla="*/ 28 h 117"/>
                  <a:gd name="T16" fmla="*/ 0 w 112"/>
                  <a:gd name="T17" fmla="*/ 3 h 117"/>
                  <a:gd name="T18" fmla="*/ 7 w 112"/>
                  <a:gd name="T19" fmla="*/ 17 h 117"/>
                  <a:gd name="T20" fmla="*/ 48 w 112"/>
                  <a:gd name="T21" fmla="*/ 70 h 117"/>
                  <a:gd name="T22" fmla="*/ 86 w 112"/>
                  <a:gd name="T23" fmla="*/ 111 h 117"/>
                  <a:gd name="T24" fmla="*/ 104 w 112"/>
                  <a:gd name="T25" fmla="*/ 10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2" h="117">
                    <a:moveTo>
                      <a:pt x="104" y="102"/>
                    </a:moveTo>
                    <a:cubicBezTo>
                      <a:pt x="104" y="96"/>
                      <a:pt x="105" y="90"/>
                      <a:pt x="109" y="85"/>
                    </a:cubicBezTo>
                    <a:cubicBezTo>
                      <a:pt x="112" y="82"/>
                      <a:pt x="111" y="79"/>
                      <a:pt x="108" y="77"/>
                    </a:cubicBezTo>
                    <a:cubicBezTo>
                      <a:pt x="106" y="76"/>
                      <a:pt x="103" y="76"/>
                      <a:pt x="103" y="77"/>
                    </a:cubicBezTo>
                    <a:cubicBezTo>
                      <a:pt x="104" y="87"/>
                      <a:pt x="98" y="82"/>
                      <a:pt x="96" y="80"/>
                    </a:cubicBezTo>
                    <a:cubicBezTo>
                      <a:pt x="90" y="75"/>
                      <a:pt x="80" y="69"/>
                      <a:pt x="80" y="63"/>
                    </a:cubicBezTo>
                    <a:cubicBezTo>
                      <a:pt x="78" y="44"/>
                      <a:pt x="64" y="41"/>
                      <a:pt x="52" y="34"/>
                    </a:cubicBezTo>
                    <a:cubicBezTo>
                      <a:pt x="48" y="32"/>
                      <a:pt x="46" y="30"/>
                      <a:pt x="44" y="28"/>
                    </a:cubicBezTo>
                    <a:cubicBezTo>
                      <a:pt x="31" y="16"/>
                      <a:pt x="22" y="0"/>
                      <a:pt x="0" y="3"/>
                    </a:cubicBezTo>
                    <a:cubicBezTo>
                      <a:pt x="0" y="9"/>
                      <a:pt x="3" y="13"/>
                      <a:pt x="7" y="17"/>
                    </a:cubicBezTo>
                    <a:cubicBezTo>
                      <a:pt x="25" y="31"/>
                      <a:pt x="39" y="50"/>
                      <a:pt x="48" y="70"/>
                    </a:cubicBezTo>
                    <a:cubicBezTo>
                      <a:pt x="57" y="89"/>
                      <a:pt x="72" y="98"/>
                      <a:pt x="86" y="111"/>
                    </a:cubicBezTo>
                    <a:cubicBezTo>
                      <a:pt x="93" y="117"/>
                      <a:pt x="103" y="112"/>
                      <a:pt x="104" y="10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18">
                <a:extLst>
                  <a:ext uri="{FF2B5EF4-FFF2-40B4-BE49-F238E27FC236}">
                    <a16:creationId xmlns:a16="http://schemas.microsoft.com/office/drawing/2014/main" id="{5AF9F753-BC60-9B5B-7CEE-6DC7F1A35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868" y="1690642"/>
                <a:ext cx="404270" cy="140147"/>
              </a:xfrm>
              <a:custGeom>
                <a:avLst/>
                <a:gdLst>
                  <a:gd name="T0" fmla="*/ 44 w 170"/>
                  <a:gd name="T1" fmla="*/ 35 h 59"/>
                  <a:gd name="T2" fmla="*/ 53 w 170"/>
                  <a:gd name="T3" fmla="*/ 48 h 59"/>
                  <a:gd name="T4" fmla="*/ 95 w 170"/>
                  <a:gd name="T5" fmla="*/ 52 h 59"/>
                  <a:gd name="T6" fmla="*/ 150 w 170"/>
                  <a:gd name="T7" fmla="*/ 51 h 59"/>
                  <a:gd name="T8" fmla="*/ 170 w 170"/>
                  <a:gd name="T9" fmla="*/ 39 h 59"/>
                  <a:gd name="T10" fmla="*/ 151 w 170"/>
                  <a:gd name="T11" fmla="*/ 29 h 59"/>
                  <a:gd name="T12" fmla="*/ 89 w 170"/>
                  <a:gd name="T13" fmla="*/ 30 h 59"/>
                  <a:gd name="T14" fmla="*/ 69 w 170"/>
                  <a:gd name="T15" fmla="*/ 17 h 59"/>
                  <a:gd name="T16" fmla="*/ 61 w 170"/>
                  <a:gd name="T17" fmla="*/ 12 h 59"/>
                  <a:gd name="T18" fmla="*/ 16 w 170"/>
                  <a:gd name="T19" fmla="*/ 2 h 59"/>
                  <a:gd name="T20" fmla="*/ 2 w 170"/>
                  <a:gd name="T21" fmla="*/ 7 h 59"/>
                  <a:gd name="T22" fmla="*/ 11 w 170"/>
                  <a:gd name="T23" fmla="*/ 13 h 59"/>
                  <a:gd name="T24" fmla="*/ 24 w 170"/>
                  <a:gd name="T25" fmla="*/ 17 h 59"/>
                  <a:gd name="T26" fmla="*/ 44 w 170"/>
                  <a:gd name="T27" fmla="*/ 3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0" h="59">
                    <a:moveTo>
                      <a:pt x="44" y="35"/>
                    </a:moveTo>
                    <a:cubicBezTo>
                      <a:pt x="44" y="42"/>
                      <a:pt x="47" y="44"/>
                      <a:pt x="53" y="48"/>
                    </a:cubicBezTo>
                    <a:cubicBezTo>
                      <a:pt x="67" y="56"/>
                      <a:pt x="81" y="47"/>
                      <a:pt x="95" y="52"/>
                    </a:cubicBezTo>
                    <a:cubicBezTo>
                      <a:pt x="112" y="59"/>
                      <a:pt x="132" y="45"/>
                      <a:pt x="150" y="51"/>
                    </a:cubicBezTo>
                    <a:cubicBezTo>
                      <a:pt x="163" y="56"/>
                      <a:pt x="170" y="47"/>
                      <a:pt x="170" y="39"/>
                    </a:cubicBezTo>
                    <a:cubicBezTo>
                      <a:pt x="170" y="30"/>
                      <a:pt x="159" y="30"/>
                      <a:pt x="151" y="29"/>
                    </a:cubicBezTo>
                    <a:cubicBezTo>
                      <a:pt x="130" y="27"/>
                      <a:pt x="110" y="34"/>
                      <a:pt x="89" y="30"/>
                    </a:cubicBezTo>
                    <a:cubicBezTo>
                      <a:pt x="82" y="29"/>
                      <a:pt x="64" y="40"/>
                      <a:pt x="69" y="17"/>
                    </a:cubicBezTo>
                    <a:cubicBezTo>
                      <a:pt x="70" y="14"/>
                      <a:pt x="64" y="11"/>
                      <a:pt x="61" y="12"/>
                    </a:cubicBezTo>
                    <a:cubicBezTo>
                      <a:pt x="45" y="14"/>
                      <a:pt x="31" y="6"/>
                      <a:pt x="16" y="2"/>
                    </a:cubicBezTo>
                    <a:cubicBezTo>
                      <a:pt x="11" y="1"/>
                      <a:pt x="3" y="0"/>
                      <a:pt x="2" y="7"/>
                    </a:cubicBezTo>
                    <a:cubicBezTo>
                      <a:pt x="0" y="13"/>
                      <a:pt x="8" y="10"/>
                      <a:pt x="11" y="13"/>
                    </a:cubicBezTo>
                    <a:cubicBezTo>
                      <a:pt x="14" y="16"/>
                      <a:pt x="19" y="17"/>
                      <a:pt x="24" y="17"/>
                    </a:cubicBezTo>
                    <a:cubicBezTo>
                      <a:pt x="37" y="16"/>
                      <a:pt x="45" y="21"/>
                      <a:pt x="44" y="3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19">
                <a:extLst>
                  <a:ext uri="{FF2B5EF4-FFF2-40B4-BE49-F238E27FC236}">
                    <a16:creationId xmlns:a16="http://schemas.microsoft.com/office/drawing/2014/main" id="{49DB48FA-690D-85D8-DA9C-41BB53D2B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3879" y="2151509"/>
                <a:ext cx="247952" cy="140147"/>
              </a:xfrm>
              <a:custGeom>
                <a:avLst/>
                <a:gdLst>
                  <a:gd name="T0" fmla="*/ 100 w 104"/>
                  <a:gd name="T1" fmla="*/ 23 h 59"/>
                  <a:gd name="T2" fmla="*/ 64 w 104"/>
                  <a:gd name="T3" fmla="*/ 12 h 59"/>
                  <a:gd name="T4" fmla="*/ 55 w 104"/>
                  <a:gd name="T5" fmla="*/ 13 h 59"/>
                  <a:gd name="T6" fmla="*/ 36 w 104"/>
                  <a:gd name="T7" fmla="*/ 21 h 59"/>
                  <a:gd name="T8" fmla="*/ 27 w 104"/>
                  <a:gd name="T9" fmla="*/ 19 h 59"/>
                  <a:gd name="T10" fmla="*/ 0 w 104"/>
                  <a:gd name="T11" fmla="*/ 23 h 59"/>
                  <a:gd name="T12" fmla="*/ 19 w 104"/>
                  <a:gd name="T13" fmla="*/ 24 h 59"/>
                  <a:gd name="T14" fmla="*/ 18 w 104"/>
                  <a:gd name="T15" fmla="*/ 48 h 59"/>
                  <a:gd name="T16" fmla="*/ 48 w 104"/>
                  <a:gd name="T17" fmla="*/ 57 h 59"/>
                  <a:gd name="T18" fmla="*/ 100 w 104"/>
                  <a:gd name="T19" fmla="*/ 33 h 59"/>
                  <a:gd name="T20" fmla="*/ 100 w 104"/>
                  <a:gd name="T21" fmla="*/ 2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59">
                    <a:moveTo>
                      <a:pt x="100" y="23"/>
                    </a:moveTo>
                    <a:cubicBezTo>
                      <a:pt x="89" y="13"/>
                      <a:pt x="80" y="0"/>
                      <a:pt x="64" y="12"/>
                    </a:cubicBezTo>
                    <a:cubicBezTo>
                      <a:pt x="62" y="14"/>
                      <a:pt x="58" y="12"/>
                      <a:pt x="55" y="13"/>
                    </a:cubicBezTo>
                    <a:cubicBezTo>
                      <a:pt x="48" y="15"/>
                      <a:pt x="39" y="11"/>
                      <a:pt x="36" y="21"/>
                    </a:cubicBezTo>
                    <a:cubicBezTo>
                      <a:pt x="35" y="23"/>
                      <a:pt x="30" y="23"/>
                      <a:pt x="27" y="19"/>
                    </a:cubicBezTo>
                    <a:cubicBezTo>
                      <a:pt x="18" y="3"/>
                      <a:pt x="9" y="5"/>
                      <a:pt x="0" y="23"/>
                    </a:cubicBezTo>
                    <a:cubicBezTo>
                      <a:pt x="6" y="23"/>
                      <a:pt x="12" y="21"/>
                      <a:pt x="19" y="24"/>
                    </a:cubicBezTo>
                    <a:cubicBezTo>
                      <a:pt x="10" y="32"/>
                      <a:pt x="25" y="40"/>
                      <a:pt x="18" y="48"/>
                    </a:cubicBezTo>
                    <a:cubicBezTo>
                      <a:pt x="29" y="48"/>
                      <a:pt x="39" y="59"/>
                      <a:pt x="48" y="57"/>
                    </a:cubicBezTo>
                    <a:cubicBezTo>
                      <a:pt x="67" y="53"/>
                      <a:pt x="86" y="47"/>
                      <a:pt x="100" y="33"/>
                    </a:cubicBezTo>
                    <a:cubicBezTo>
                      <a:pt x="104" y="29"/>
                      <a:pt x="103" y="26"/>
                      <a:pt x="100" y="2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0">
                <a:extLst>
                  <a:ext uri="{FF2B5EF4-FFF2-40B4-BE49-F238E27FC236}">
                    <a16:creationId xmlns:a16="http://schemas.microsoft.com/office/drawing/2014/main" id="{87002418-D46B-A9F4-FE16-C21C944CE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4430" y="3005865"/>
                <a:ext cx="278946" cy="226391"/>
              </a:xfrm>
              <a:custGeom>
                <a:avLst/>
                <a:gdLst>
                  <a:gd name="T0" fmla="*/ 77 w 117"/>
                  <a:gd name="T1" fmla="*/ 47 h 95"/>
                  <a:gd name="T2" fmla="*/ 50 w 117"/>
                  <a:gd name="T3" fmla="*/ 67 h 95"/>
                  <a:gd name="T4" fmla="*/ 45 w 117"/>
                  <a:gd name="T5" fmla="*/ 67 h 95"/>
                  <a:gd name="T6" fmla="*/ 0 w 117"/>
                  <a:gd name="T7" fmla="*/ 86 h 95"/>
                  <a:gd name="T8" fmla="*/ 31 w 117"/>
                  <a:gd name="T9" fmla="*/ 79 h 95"/>
                  <a:gd name="T10" fmla="*/ 44 w 117"/>
                  <a:gd name="T11" fmla="*/ 81 h 95"/>
                  <a:gd name="T12" fmla="*/ 57 w 117"/>
                  <a:gd name="T13" fmla="*/ 83 h 95"/>
                  <a:gd name="T14" fmla="*/ 61 w 117"/>
                  <a:gd name="T15" fmla="*/ 80 h 95"/>
                  <a:gd name="T16" fmla="*/ 79 w 117"/>
                  <a:gd name="T17" fmla="*/ 77 h 95"/>
                  <a:gd name="T18" fmla="*/ 100 w 117"/>
                  <a:gd name="T19" fmla="*/ 55 h 95"/>
                  <a:gd name="T20" fmla="*/ 104 w 117"/>
                  <a:gd name="T21" fmla="*/ 37 h 95"/>
                  <a:gd name="T22" fmla="*/ 107 w 117"/>
                  <a:gd name="T23" fmla="*/ 10 h 95"/>
                  <a:gd name="T24" fmla="*/ 94 w 117"/>
                  <a:gd name="T25" fmla="*/ 7 h 95"/>
                  <a:gd name="T26" fmla="*/ 90 w 117"/>
                  <a:gd name="T27" fmla="*/ 20 h 95"/>
                  <a:gd name="T28" fmla="*/ 77 w 117"/>
                  <a:gd name="T29" fmla="*/ 47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7" h="95">
                    <a:moveTo>
                      <a:pt x="77" y="47"/>
                    </a:moveTo>
                    <a:cubicBezTo>
                      <a:pt x="66" y="52"/>
                      <a:pt x="54" y="54"/>
                      <a:pt x="50" y="67"/>
                    </a:cubicBezTo>
                    <a:cubicBezTo>
                      <a:pt x="49" y="69"/>
                      <a:pt x="46" y="67"/>
                      <a:pt x="45" y="67"/>
                    </a:cubicBezTo>
                    <a:cubicBezTo>
                      <a:pt x="29" y="70"/>
                      <a:pt x="12" y="69"/>
                      <a:pt x="0" y="86"/>
                    </a:cubicBezTo>
                    <a:cubicBezTo>
                      <a:pt x="12" y="88"/>
                      <a:pt x="21" y="81"/>
                      <a:pt x="31" y="79"/>
                    </a:cubicBezTo>
                    <a:cubicBezTo>
                      <a:pt x="35" y="78"/>
                      <a:pt x="42" y="76"/>
                      <a:pt x="44" y="81"/>
                    </a:cubicBezTo>
                    <a:cubicBezTo>
                      <a:pt x="47" y="95"/>
                      <a:pt x="52" y="92"/>
                      <a:pt x="57" y="83"/>
                    </a:cubicBezTo>
                    <a:cubicBezTo>
                      <a:pt x="58" y="81"/>
                      <a:pt x="58" y="78"/>
                      <a:pt x="61" y="80"/>
                    </a:cubicBezTo>
                    <a:cubicBezTo>
                      <a:pt x="68" y="85"/>
                      <a:pt x="74" y="80"/>
                      <a:pt x="79" y="77"/>
                    </a:cubicBezTo>
                    <a:cubicBezTo>
                      <a:pt x="89" y="74"/>
                      <a:pt x="102" y="72"/>
                      <a:pt x="100" y="55"/>
                    </a:cubicBezTo>
                    <a:cubicBezTo>
                      <a:pt x="100" y="50"/>
                      <a:pt x="99" y="40"/>
                      <a:pt x="104" y="37"/>
                    </a:cubicBezTo>
                    <a:cubicBezTo>
                      <a:pt x="117" y="29"/>
                      <a:pt x="109" y="19"/>
                      <a:pt x="107" y="10"/>
                    </a:cubicBezTo>
                    <a:cubicBezTo>
                      <a:pt x="104" y="0"/>
                      <a:pt x="98" y="4"/>
                      <a:pt x="94" y="7"/>
                    </a:cubicBezTo>
                    <a:cubicBezTo>
                      <a:pt x="91" y="10"/>
                      <a:pt x="90" y="15"/>
                      <a:pt x="90" y="20"/>
                    </a:cubicBezTo>
                    <a:cubicBezTo>
                      <a:pt x="91" y="31"/>
                      <a:pt x="86" y="42"/>
                      <a:pt x="77" y="4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">
                <a:extLst>
                  <a:ext uri="{FF2B5EF4-FFF2-40B4-BE49-F238E27FC236}">
                    <a16:creationId xmlns:a16="http://schemas.microsoft.com/office/drawing/2014/main" id="{4F1F686E-BCB6-DE30-5857-890BF1583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4440" y="1700076"/>
                <a:ext cx="269513" cy="126671"/>
              </a:xfrm>
              <a:custGeom>
                <a:avLst/>
                <a:gdLst>
                  <a:gd name="T0" fmla="*/ 15 w 113"/>
                  <a:gd name="T1" fmla="*/ 21 h 53"/>
                  <a:gd name="T2" fmla="*/ 8 w 113"/>
                  <a:gd name="T3" fmla="*/ 23 h 53"/>
                  <a:gd name="T4" fmla="*/ 0 w 113"/>
                  <a:gd name="T5" fmla="*/ 34 h 53"/>
                  <a:gd name="T6" fmla="*/ 11 w 113"/>
                  <a:gd name="T7" fmla="*/ 37 h 53"/>
                  <a:gd name="T8" fmla="*/ 46 w 113"/>
                  <a:gd name="T9" fmla="*/ 38 h 53"/>
                  <a:gd name="T10" fmla="*/ 32 w 113"/>
                  <a:gd name="T11" fmla="*/ 43 h 53"/>
                  <a:gd name="T12" fmla="*/ 28 w 113"/>
                  <a:gd name="T13" fmla="*/ 46 h 53"/>
                  <a:gd name="T14" fmla="*/ 32 w 113"/>
                  <a:gd name="T15" fmla="*/ 51 h 53"/>
                  <a:gd name="T16" fmla="*/ 42 w 113"/>
                  <a:gd name="T17" fmla="*/ 52 h 53"/>
                  <a:gd name="T18" fmla="*/ 83 w 113"/>
                  <a:gd name="T19" fmla="*/ 39 h 53"/>
                  <a:gd name="T20" fmla="*/ 104 w 113"/>
                  <a:gd name="T21" fmla="*/ 38 h 53"/>
                  <a:gd name="T22" fmla="*/ 113 w 113"/>
                  <a:gd name="T23" fmla="*/ 24 h 53"/>
                  <a:gd name="T24" fmla="*/ 102 w 113"/>
                  <a:gd name="T25" fmla="*/ 19 h 53"/>
                  <a:gd name="T26" fmla="*/ 88 w 113"/>
                  <a:gd name="T27" fmla="*/ 15 h 53"/>
                  <a:gd name="T28" fmla="*/ 73 w 113"/>
                  <a:gd name="T29" fmla="*/ 6 h 53"/>
                  <a:gd name="T30" fmla="*/ 73 w 113"/>
                  <a:gd name="T31" fmla="*/ 24 h 53"/>
                  <a:gd name="T32" fmla="*/ 74 w 113"/>
                  <a:gd name="T33" fmla="*/ 30 h 53"/>
                  <a:gd name="T34" fmla="*/ 59 w 113"/>
                  <a:gd name="T35" fmla="*/ 26 h 53"/>
                  <a:gd name="T36" fmla="*/ 23 w 113"/>
                  <a:gd name="T37" fmla="*/ 8 h 53"/>
                  <a:gd name="T38" fmla="*/ 9 w 113"/>
                  <a:gd name="T39" fmla="*/ 15 h 53"/>
                  <a:gd name="T40" fmla="*/ 15 w 113"/>
                  <a:gd name="T41" fmla="*/ 2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53">
                    <a:moveTo>
                      <a:pt x="15" y="21"/>
                    </a:moveTo>
                    <a:cubicBezTo>
                      <a:pt x="13" y="21"/>
                      <a:pt x="11" y="23"/>
                      <a:pt x="8" y="23"/>
                    </a:cubicBezTo>
                    <a:cubicBezTo>
                      <a:pt x="3" y="25"/>
                      <a:pt x="0" y="31"/>
                      <a:pt x="0" y="34"/>
                    </a:cubicBezTo>
                    <a:cubicBezTo>
                      <a:pt x="1" y="40"/>
                      <a:pt x="7" y="38"/>
                      <a:pt x="11" y="37"/>
                    </a:cubicBezTo>
                    <a:cubicBezTo>
                      <a:pt x="23" y="34"/>
                      <a:pt x="35" y="35"/>
                      <a:pt x="46" y="38"/>
                    </a:cubicBezTo>
                    <a:cubicBezTo>
                      <a:pt x="44" y="45"/>
                      <a:pt x="38" y="42"/>
                      <a:pt x="32" y="43"/>
                    </a:cubicBezTo>
                    <a:cubicBezTo>
                      <a:pt x="31" y="43"/>
                      <a:pt x="29" y="45"/>
                      <a:pt x="28" y="46"/>
                    </a:cubicBezTo>
                    <a:cubicBezTo>
                      <a:pt x="27" y="50"/>
                      <a:pt x="31" y="49"/>
                      <a:pt x="32" y="51"/>
                    </a:cubicBezTo>
                    <a:cubicBezTo>
                      <a:pt x="35" y="53"/>
                      <a:pt x="39" y="52"/>
                      <a:pt x="42" y="52"/>
                    </a:cubicBezTo>
                    <a:cubicBezTo>
                      <a:pt x="57" y="51"/>
                      <a:pt x="69" y="41"/>
                      <a:pt x="83" y="39"/>
                    </a:cubicBezTo>
                    <a:cubicBezTo>
                      <a:pt x="90" y="38"/>
                      <a:pt x="97" y="41"/>
                      <a:pt x="104" y="38"/>
                    </a:cubicBezTo>
                    <a:cubicBezTo>
                      <a:pt x="111" y="35"/>
                      <a:pt x="113" y="30"/>
                      <a:pt x="113" y="24"/>
                    </a:cubicBezTo>
                    <a:cubicBezTo>
                      <a:pt x="113" y="16"/>
                      <a:pt x="106" y="18"/>
                      <a:pt x="102" y="19"/>
                    </a:cubicBezTo>
                    <a:cubicBezTo>
                      <a:pt x="95" y="21"/>
                      <a:pt x="92" y="21"/>
                      <a:pt x="88" y="15"/>
                    </a:cubicBezTo>
                    <a:cubicBezTo>
                      <a:pt x="85" y="10"/>
                      <a:pt x="84" y="0"/>
                      <a:pt x="73" y="6"/>
                    </a:cubicBezTo>
                    <a:cubicBezTo>
                      <a:pt x="63" y="12"/>
                      <a:pt x="74" y="18"/>
                      <a:pt x="73" y="24"/>
                    </a:cubicBezTo>
                    <a:cubicBezTo>
                      <a:pt x="72" y="25"/>
                      <a:pt x="78" y="25"/>
                      <a:pt x="74" y="30"/>
                    </a:cubicBezTo>
                    <a:cubicBezTo>
                      <a:pt x="69" y="29"/>
                      <a:pt x="62" y="29"/>
                      <a:pt x="59" y="26"/>
                    </a:cubicBezTo>
                    <a:cubicBezTo>
                      <a:pt x="49" y="16"/>
                      <a:pt x="35" y="15"/>
                      <a:pt x="23" y="8"/>
                    </a:cubicBezTo>
                    <a:cubicBezTo>
                      <a:pt x="14" y="4"/>
                      <a:pt x="12" y="12"/>
                      <a:pt x="9" y="15"/>
                    </a:cubicBezTo>
                    <a:cubicBezTo>
                      <a:pt x="5" y="19"/>
                      <a:pt x="13" y="18"/>
                      <a:pt x="15" y="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2">
                <a:extLst>
                  <a:ext uri="{FF2B5EF4-FFF2-40B4-BE49-F238E27FC236}">
                    <a16:creationId xmlns:a16="http://schemas.microsoft.com/office/drawing/2014/main" id="{C2E16F34-F5B0-0770-3144-322E16994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3477" y="1468295"/>
                <a:ext cx="179226" cy="145537"/>
              </a:xfrm>
              <a:custGeom>
                <a:avLst/>
                <a:gdLst>
                  <a:gd name="T0" fmla="*/ 9 w 75"/>
                  <a:gd name="T1" fmla="*/ 38 h 61"/>
                  <a:gd name="T2" fmla="*/ 18 w 75"/>
                  <a:gd name="T3" fmla="*/ 43 h 61"/>
                  <a:gd name="T4" fmla="*/ 58 w 75"/>
                  <a:gd name="T5" fmla="*/ 56 h 61"/>
                  <a:gd name="T6" fmla="*/ 73 w 75"/>
                  <a:gd name="T7" fmla="*/ 38 h 61"/>
                  <a:gd name="T8" fmla="*/ 59 w 75"/>
                  <a:gd name="T9" fmla="*/ 32 h 61"/>
                  <a:gd name="T10" fmla="*/ 48 w 75"/>
                  <a:gd name="T11" fmla="*/ 17 h 61"/>
                  <a:gd name="T12" fmla="*/ 48 w 75"/>
                  <a:gd name="T13" fmla="*/ 12 h 61"/>
                  <a:gd name="T14" fmla="*/ 31 w 75"/>
                  <a:gd name="T15" fmla="*/ 2 h 61"/>
                  <a:gd name="T16" fmla="*/ 13 w 75"/>
                  <a:gd name="T17" fmla="*/ 13 h 61"/>
                  <a:gd name="T18" fmla="*/ 6 w 75"/>
                  <a:gd name="T19" fmla="*/ 29 h 61"/>
                  <a:gd name="T20" fmla="*/ 9 w 75"/>
                  <a:gd name="T21" fmla="*/ 38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" h="61">
                    <a:moveTo>
                      <a:pt x="9" y="38"/>
                    </a:moveTo>
                    <a:cubicBezTo>
                      <a:pt x="13" y="39"/>
                      <a:pt x="15" y="41"/>
                      <a:pt x="18" y="43"/>
                    </a:cubicBezTo>
                    <a:cubicBezTo>
                      <a:pt x="31" y="48"/>
                      <a:pt x="42" y="57"/>
                      <a:pt x="58" y="56"/>
                    </a:cubicBezTo>
                    <a:cubicBezTo>
                      <a:pt x="73" y="61"/>
                      <a:pt x="71" y="45"/>
                      <a:pt x="73" y="38"/>
                    </a:cubicBezTo>
                    <a:cubicBezTo>
                      <a:pt x="75" y="28"/>
                      <a:pt x="64" y="34"/>
                      <a:pt x="59" y="32"/>
                    </a:cubicBezTo>
                    <a:cubicBezTo>
                      <a:pt x="53" y="29"/>
                      <a:pt x="40" y="31"/>
                      <a:pt x="48" y="17"/>
                    </a:cubicBezTo>
                    <a:cubicBezTo>
                      <a:pt x="49" y="16"/>
                      <a:pt x="49" y="12"/>
                      <a:pt x="48" y="12"/>
                    </a:cubicBezTo>
                    <a:cubicBezTo>
                      <a:pt x="42" y="10"/>
                      <a:pt x="40" y="0"/>
                      <a:pt x="31" y="2"/>
                    </a:cubicBezTo>
                    <a:cubicBezTo>
                      <a:pt x="24" y="3"/>
                      <a:pt x="15" y="3"/>
                      <a:pt x="13" y="13"/>
                    </a:cubicBezTo>
                    <a:cubicBezTo>
                      <a:pt x="12" y="19"/>
                      <a:pt x="8" y="23"/>
                      <a:pt x="6" y="29"/>
                    </a:cubicBezTo>
                    <a:cubicBezTo>
                      <a:pt x="3" y="36"/>
                      <a:pt x="0" y="36"/>
                      <a:pt x="9" y="3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3">
                <a:extLst>
                  <a:ext uri="{FF2B5EF4-FFF2-40B4-BE49-F238E27FC236}">
                    <a16:creationId xmlns:a16="http://schemas.microsoft.com/office/drawing/2014/main" id="{DAB9125E-9494-98F4-47F2-9E0FADFEF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8006" y="5083809"/>
                <a:ext cx="181922" cy="187311"/>
              </a:xfrm>
              <a:custGeom>
                <a:avLst/>
                <a:gdLst>
                  <a:gd name="T0" fmla="*/ 57 w 76"/>
                  <a:gd name="T1" fmla="*/ 10 h 79"/>
                  <a:gd name="T2" fmla="*/ 14 w 76"/>
                  <a:gd name="T3" fmla="*/ 52 h 79"/>
                  <a:gd name="T4" fmla="*/ 4 w 76"/>
                  <a:gd name="T5" fmla="*/ 67 h 79"/>
                  <a:gd name="T6" fmla="*/ 24 w 76"/>
                  <a:gd name="T7" fmla="*/ 77 h 79"/>
                  <a:gd name="T8" fmla="*/ 40 w 76"/>
                  <a:gd name="T9" fmla="*/ 68 h 79"/>
                  <a:gd name="T10" fmla="*/ 55 w 76"/>
                  <a:gd name="T11" fmla="*/ 46 h 79"/>
                  <a:gd name="T12" fmla="*/ 75 w 76"/>
                  <a:gd name="T13" fmla="*/ 17 h 79"/>
                  <a:gd name="T14" fmla="*/ 74 w 76"/>
                  <a:gd name="T15" fmla="*/ 10 h 79"/>
                  <a:gd name="T16" fmla="*/ 57 w 76"/>
                  <a:gd name="T17" fmla="*/ 1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79">
                    <a:moveTo>
                      <a:pt x="57" y="10"/>
                    </a:moveTo>
                    <a:cubicBezTo>
                      <a:pt x="49" y="31"/>
                      <a:pt x="29" y="39"/>
                      <a:pt x="14" y="52"/>
                    </a:cubicBezTo>
                    <a:cubicBezTo>
                      <a:pt x="8" y="56"/>
                      <a:pt x="0" y="60"/>
                      <a:pt x="4" y="67"/>
                    </a:cubicBezTo>
                    <a:cubicBezTo>
                      <a:pt x="7" y="74"/>
                      <a:pt x="15" y="78"/>
                      <a:pt x="24" y="77"/>
                    </a:cubicBezTo>
                    <a:cubicBezTo>
                      <a:pt x="31" y="79"/>
                      <a:pt x="35" y="74"/>
                      <a:pt x="40" y="68"/>
                    </a:cubicBezTo>
                    <a:cubicBezTo>
                      <a:pt x="44" y="61"/>
                      <a:pt x="46" y="51"/>
                      <a:pt x="55" y="46"/>
                    </a:cubicBezTo>
                    <a:cubicBezTo>
                      <a:pt x="66" y="40"/>
                      <a:pt x="71" y="28"/>
                      <a:pt x="75" y="17"/>
                    </a:cubicBezTo>
                    <a:cubicBezTo>
                      <a:pt x="76" y="15"/>
                      <a:pt x="74" y="9"/>
                      <a:pt x="74" y="10"/>
                    </a:cubicBezTo>
                    <a:cubicBezTo>
                      <a:pt x="68" y="17"/>
                      <a:pt x="61" y="0"/>
                      <a:pt x="57" y="1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4">
                <a:extLst>
                  <a:ext uri="{FF2B5EF4-FFF2-40B4-BE49-F238E27FC236}">
                    <a16:creationId xmlns:a16="http://schemas.microsoft.com/office/drawing/2014/main" id="{16555767-004D-4DB9-A10A-9A960BA2C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2679" y="1824051"/>
                <a:ext cx="150927" cy="138798"/>
              </a:xfrm>
              <a:custGeom>
                <a:avLst/>
                <a:gdLst>
                  <a:gd name="T0" fmla="*/ 10 w 63"/>
                  <a:gd name="T1" fmla="*/ 27 h 58"/>
                  <a:gd name="T2" fmla="*/ 2 w 63"/>
                  <a:gd name="T3" fmla="*/ 29 h 58"/>
                  <a:gd name="T4" fmla="*/ 7 w 63"/>
                  <a:gd name="T5" fmla="*/ 37 h 58"/>
                  <a:gd name="T6" fmla="*/ 29 w 63"/>
                  <a:gd name="T7" fmla="*/ 53 h 58"/>
                  <a:gd name="T8" fmla="*/ 41 w 63"/>
                  <a:gd name="T9" fmla="*/ 57 h 58"/>
                  <a:gd name="T10" fmla="*/ 60 w 63"/>
                  <a:gd name="T11" fmla="*/ 25 h 58"/>
                  <a:gd name="T12" fmla="*/ 44 w 63"/>
                  <a:gd name="T13" fmla="*/ 26 h 58"/>
                  <a:gd name="T14" fmla="*/ 49 w 63"/>
                  <a:gd name="T15" fmla="*/ 21 h 58"/>
                  <a:gd name="T16" fmla="*/ 55 w 63"/>
                  <a:gd name="T17" fmla="*/ 12 h 58"/>
                  <a:gd name="T18" fmla="*/ 43 w 63"/>
                  <a:gd name="T19" fmla="*/ 4 h 58"/>
                  <a:gd name="T20" fmla="*/ 19 w 63"/>
                  <a:gd name="T21" fmla="*/ 9 h 58"/>
                  <a:gd name="T22" fmla="*/ 13 w 63"/>
                  <a:gd name="T23" fmla="*/ 15 h 58"/>
                  <a:gd name="T24" fmla="*/ 15 w 63"/>
                  <a:gd name="T25" fmla="*/ 20 h 58"/>
                  <a:gd name="T26" fmla="*/ 25 w 63"/>
                  <a:gd name="T27" fmla="*/ 25 h 58"/>
                  <a:gd name="T28" fmla="*/ 10 w 63"/>
                  <a:gd name="T2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58">
                    <a:moveTo>
                      <a:pt x="10" y="27"/>
                    </a:moveTo>
                    <a:cubicBezTo>
                      <a:pt x="8" y="26"/>
                      <a:pt x="3" y="25"/>
                      <a:pt x="2" y="29"/>
                    </a:cubicBezTo>
                    <a:cubicBezTo>
                      <a:pt x="0" y="33"/>
                      <a:pt x="4" y="37"/>
                      <a:pt x="7" y="37"/>
                    </a:cubicBezTo>
                    <a:cubicBezTo>
                      <a:pt x="16" y="40"/>
                      <a:pt x="22" y="47"/>
                      <a:pt x="29" y="53"/>
                    </a:cubicBezTo>
                    <a:cubicBezTo>
                      <a:pt x="32" y="57"/>
                      <a:pt x="37" y="58"/>
                      <a:pt x="41" y="57"/>
                    </a:cubicBezTo>
                    <a:cubicBezTo>
                      <a:pt x="60" y="51"/>
                      <a:pt x="63" y="46"/>
                      <a:pt x="60" y="25"/>
                    </a:cubicBezTo>
                    <a:cubicBezTo>
                      <a:pt x="55" y="28"/>
                      <a:pt x="49" y="27"/>
                      <a:pt x="44" y="26"/>
                    </a:cubicBezTo>
                    <a:cubicBezTo>
                      <a:pt x="44" y="21"/>
                      <a:pt x="47" y="21"/>
                      <a:pt x="49" y="21"/>
                    </a:cubicBezTo>
                    <a:cubicBezTo>
                      <a:pt x="54" y="20"/>
                      <a:pt x="57" y="16"/>
                      <a:pt x="55" y="12"/>
                    </a:cubicBezTo>
                    <a:cubicBezTo>
                      <a:pt x="52" y="8"/>
                      <a:pt x="47" y="0"/>
                      <a:pt x="43" y="4"/>
                    </a:cubicBezTo>
                    <a:cubicBezTo>
                      <a:pt x="36" y="12"/>
                      <a:pt x="27" y="8"/>
                      <a:pt x="19" y="9"/>
                    </a:cubicBezTo>
                    <a:cubicBezTo>
                      <a:pt x="16" y="10"/>
                      <a:pt x="14" y="12"/>
                      <a:pt x="13" y="15"/>
                    </a:cubicBezTo>
                    <a:cubicBezTo>
                      <a:pt x="13" y="17"/>
                      <a:pt x="13" y="20"/>
                      <a:pt x="15" y="20"/>
                    </a:cubicBezTo>
                    <a:cubicBezTo>
                      <a:pt x="20" y="19"/>
                      <a:pt x="27" y="16"/>
                      <a:pt x="25" y="25"/>
                    </a:cubicBezTo>
                    <a:cubicBezTo>
                      <a:pt x="22" y="34"/>
                      <a:pt x="17" y="32"/>
                      <a:pt x="10" y="2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5">
                <a:extLst>
                  <a:ext uri="{FF2B5EF4-FFF2-40B4-BE49-F238E27FC236}">
                    <a16:creationId xmlns:a16="http://schemas.microsoft.com/office/drawing/2014/main" id="{6A566903-948E-6F6D-FED6-B31ECA5F0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1905" y="2575992"/>
                <a:ext cx="123976" cy="121280"/>
              </a:xfrm>
              <a:custGeom>
                <a:avLst/>
                <a:gdLst>
                  <a:gd name="T0" fmla="*/ 13 w 52"/>
                  <a:gd name="T1" fmla="*/ 51 h 51"/>
                  <a:gd name="T2" fmla="*/ 43 w 52"/>
                  <a:gd name="T3" fmla="*/ 41 h 51"/>
                  <a:gd name="T4" fmla="*/ 43 w 52"/>
                  <a:gd name="T5" fmla="*/ 23 h 51"/>
                  <a:gd name="T6" fmla="*/ 47 w 52"/>
                  <a:gd name="T7" fmla="*/ 15 h 51"/>
                  <a:gd name="T8" fmla="*/ 39 w 52"/>
                  <a:gd name="T9" fmla="*/ 0 h 51"/>
                  <a:gd name="T10" fmla="*/ 9 w 52"/>
                  <a:gd name="T11" fmla="*/ 15 h 51"/>
                  <a:gd name="T12" fmla="*/ 7 w 52"/>
                  <a:gd name="T13" fmla="*/ 22 h 51"/>
                  <a:gd name="T14" fmla="*/ 6 w 52"/>
                  <a:gd name="T15" fmla="*/ 39 h 51"/>
                  <a:gd name="T16" fmla="*/ 13 w 52"/>
                  <a:gd name="T17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51">
                    <a:moveTo>
                      <a:pt x="13" y="51"/>
                    </a:moveTo>
                    <a:cubicBezTo>
                      <a:pt x="23" y="49"/>
                      <a:pt x="34" y="46"/>
                      <a:pt x="43" y="41"/>
                    </a:cubicBezTo>
                    <a:cubicBezTo>
                      <a:pt x="48" y="38"/>
                      <a:pt x="46" y="29"/>
                      <a:pt x="43" y="23"/>
                    </a:cubicBezTo>
                    <a:cubicBezTo>
                      <a:pt x="42" y="20"/>
                      <a:pt x="45" y="18"/>
                      <a:pt x="47" y="15"/>
                    </a:cubicBezTo>
                    <a:cubicBezTo>
                      <a:pt x="52" y="7"/>
                      <a:pt x="49" y="0"/>
                      <a:pt x="39" y="0"/>
                    </a:cubicBezTo>
                    <a:cubicBezTo>
                      <a:pt x="35" y="0"/>
                      <a:pt x="10" y="12"/>
                      <a:pt x="9" y="15"/>
                    </a:cubicBezTo>
                    <a:cubicBezTo>
                      <a:pt x="8" y="18"/>
                      <a:pt x="6" y="21"/>
                      <a:pt x="7" y="22"/>
                    </a:cubicBezTo>
                    <a:cubicBezTo>
                      <a:pt x="13" y="28"/>
                      <a:pt x="11" y="33"/>
                      <a:pt x="6" y="39"/>
                    </a:cubicBezTo>
                    <a:cubicBezTo>
                      <a:pt x="0" y="47"/>
                      <a:pt x="7" y="51"/>
                      <a:pt x="13" y="5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">
                <a:extLst>
                  <a:ext uri="{FF2B5EF4-FFF2-40B4-BE49-F238E27FC236}">
                    <a16:creationId xmlns:a16="http://schemas.microsoft.com/office/drawing/2014/main" id="{977F398B-267D-C4A0-BA93-1A5EFFF75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2663" y="1733764"/>
                <a:ext cx="192702" cy="86244"/>
              </a:xfrm>
              <a:custGeom>
                <a:avLst/>
                <a:gdLst>
                  <a:gd name="T0" fmla="*/ 16 w 81"/>
                  <a:gd name="T1" fmla="*/ 29 h 36"/>
                  <a:gd name="T2" fmla="*/ 55 w 81"/>
                  <a:gd name="T3" fmla="*/ 22 h 36"/>
                  <a:gd name="T4" fmla="*/ 55 w 81"/>
                  <a:gd name="T5" fmla="*/ 20 h 36"/>
                  <a:gd name="T6" fmla="*/ 65 w 81"/>
                  <a:gd name="T7" fmla="*/ 27 h 36"/>
                  <a:gd name="T8" fmla="*/ 77 w 81"/>
                  <a:gd name="T9" fmla="*/ 23 h 36"/>
                  <a:gd name="T10" fmla="*/ 77 w 81"/>
                  <a:gd name="T11" fmla="*/ 13 h 36"/>
                  <a:gd name="T12" fmla="*/ 48 w 81"/>
                  <a:gd name="T13" fmla="*/ 6 h 36"/>
                  <a:gd name="T14" fmla="*/ 24 w 81"/>
                  <a:gd name="T15" fmla="*/ 4 h 36"/>
                  <a:gd name="T16" fmla="*/ 8 w 81"/>
                  <a:gd name="T17" fmla="*/ 9 h 36"/>
                  <a:gd name="T18" fmla="*/ 3 w 81"/>
                  <a:gd name="T19" fmla="*/ 22 h 36"/>
                  <a:gd name="T20" fmla="*/ 16 w 81"/>
                  <a:gd name="T21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1" h="36">
                    <a:moveTo>
                      <a:pt x="16" y="29"/>
                    </a:moveTo>
                    <a:cubicBezTo>
                      <a:pt x="29" y="26"/>
                      <a:pt x="44" y="36"/>
                      <a:pt x="55" y="22"/>
                    </a:cubicBezTo>
                    <a:cubicBezTo>
                      <a:pt x="56" y="21"/>
                      <a:pt x="55" y="20"/>
                      <a:pt x="55" y="20"/>
                    </a:cubicBezTo>
                    <a:cubicBezTo>
                      <a:pt x="58" y="22"/>
                      <a:pt x="61" y="25"/>
                      <a:pt x="65" y="27"/>
                    </a:cubicBezTo>
                    <a:cubicBezTo>
                      <a:pt x="70" y="30"/>
                      <a:pt x="74" y="29"/>
                      <a:pt x="77" y="23"/>
                    </a:cubicBezTo>
                    <a:cubicBezTo>
                      <a:pt x="79" y="20"/>
                      <a:pt x="81" y="14"/>
                      <a:pt x="77" y="13"/>
                    </a:cubicBezTo>
                    <a:cubicBezTo>
                      <a:pt x="67" y="10"/>
                      <a:pt x="56" y="1"/>
                      <a:pt x="48" y="6"/>
                    </a:cubicBezTo>
                    <a:cubicBezTo>
                      <a:pt x="37" y="13"/>
                      <a:pt x="32" y="8"/>
                      <a:pt x="24" y="4"/>
                    </a:cubicBezTo>
                    <a:cubicBezTo>
                      <a:pt x="17" y="0"/>
                      <a:pt x="12" y="5"/>
                      <a:pt x="8" y="9"/>
                    </a:cubicBezTo>
                    <a:cubicBezTo>
                      <a:pt x="4" y="12"/>
                      <a:pt x="0" y="17"/>
                      <a:pt x="3" y="22"/>
                    </a:cubicBezTo>
                    <a:cubicBezTo>
                      <a:pt x="5" y="27"/>
                      <a:pt x="10" y="31"/>
                      <a:pt x="16" y="2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">
                <a:extLst>
                  <a:ext uri="{FF2B5EF4-FFF2-40B4-BE49-F238E27FC236}">
                    <a16:creationId xmlns:a16="http://schemas.microsoft.com/office/drawing/2014/main" id="{1A7492D1-43BA-5373-48DF-465775B2B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077" y="1514111"/>
                <a:ext cx="216958" cy="76811"/>
              </a:xfrm>
              <a:custGeom>
                <a:avLst/>
                <a:gdLst>
                  <a:gd name="T0" fmla="*/ 33 w 91"/>
                  <a:gd name="T1" fmla="*/ 15 h 32"/>
                  <a:gd name="T2" fmla="*/ 18 w 91"/>
                  <a:gd name="T3" fmla="*/ 23 h 32"/>
                  <a:gd name="T4" fmla="*/ 91 w 91"/>
                  <a:gd name="T5" fmla="*/ 8 h 32"/>
                  <a:gd name="T6" fmla="*/ 0 w 91"/>
                  <a:gd name="T7" fmla="*/ 1 h 32"/>
                  <a:gd name="T8" fmla="*/ 33 w 91"/>
                  <a:gd name="T9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32">
                    <a:moveTo>
                      <a:pt x="33" y="15"/>
                    </a:moveTo>
                    <a:cubicBezTo>
                      <a:pt x="28" y="17"/>
                      <a:pt x="25" y="19"/>
                      <a:pt x="18" y="23"/>
                    </a:cubicBezTo>
                    <a:cubicBezTo>
                      <a:pt x="46" y="27"/>
                      <a:pt x="70" y="32"/>
                      <a:pt x="91" y="8"/>
                    </a:cubicBezTo>
                    <a:cubicBezTo>
                      <a:pt x="60" y="0"/>
                      <a:pt x="30" y="5"/>
                      <a:pt x="0" y="1"/>
                    </a:cubicBezTo>
                    <a:cubicBezTo>
                      <a:pt x="5" y="24"/>
                      <a:pt x="22" y="9"/>
                      <a:pt x="33" y="1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8">
                <a:extLst>
                  <a:ext uri="{FF2B5EF4-FFF2-40B4-BE49-F238E27FC236}">
                    <a16:creationId xmlns:a16="http://schemas.microsoft.com/office/drawing/2014/main" id="{EBBA4E57-785A-26C1-AFE9-355B52908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209" y="1700076"/>
                <a:ext cx="180573" cy="102415"/>
              </a:xfrm>
              <a:custGeom>
                <a:avLst/>
                <a:gdLst>
                  <a:gd name="T0" fmla="*/ 27 w 76"/>
                  <a:gd name="T1" fmla="*/ 8 h 43"/>
                  <a:gd name="T2" fmla="*/ 25 w 76"/>
                  <a:gd name="T3" fmla="*/ 21 h 43"/>
                  <a:gd name="T4" fmla="*/ 13 w 76"/>
                  <a:gd name="T5" fmla="*/ 7 h 43"/>
                  <a:gd name="T6" fmla="*/ 4 w 76"/>
                  <a:gd name="T7" fmla="*/ 4 h 43"/>
                  <a:gd name="T8" fmla="*/ 5 w 76"/>
                  <a:gd name="T9" fmla="*/ 15 h 43"/>
                  <a:gd name="T10" fmla="*/ 34 w 76"/>
                  <a:gd name="T11" fmla="*/ 26 h 43"/>
                  <a:gd name="T12" fmla="*/ 44 w 76"/>
                  <a:gd name="T13" fmla="*/ 28 h 43"/>
                  <a:gd name="T14" fmla="*/ 66 w 76"/>
                  <a:gd name="T15" fmla="*/ 37 h 43"/>
                  <a:gd name="T16" fmla="*/ 70 w 76"/>
                  <a:gd name="T17" fmla="*/ 16 h 43"/>
                  <a:gd name="T18" fmla="*/ 61 w 76"/>
                  <a:gd name="T19" fmla="*/ 7 h 43"/>
                  <a:gd name="T20" fmla="*/ 37 w 76"/>
                  <a:gd name="T21" fmla="*/ 0 h 43"/>
                  <a:gd name="T22" fmla="*/ 27 w 76"/>
                  <a:gd name="T23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43">
                    <a:moveTo>
                      <a:pt x="27" y="8"/>
                    </a:moveTo>
                    <a:cubicBezTo>
                      <a:pt x="26" y="12"/>
                      <a:pt x="26" y="15"/>
                      <a:pt x="25" y="21"/>
                    </a:cubicBezTo>
                    <a:cubicBezTo>
                      <a:pt x="20" y="15"/>
                      <a:pt x="16" y="11"/>
                      <a:pt x="13" y="7"/>
                    </a:cubicBezTo>
                    <a:cubicBezTo>
                      <a:pt x="10" y="4"/>
                      <a:pt x="6" y="2"/>
                      <a:pt x="4" y="4"/>
                    </a:cubicBezTo>
                    <a:cubicBezTo>
                      <a:pt x="0" y="7"/>
                      <a:pt x="2" y="12"/>
                      <a:pt x="5" y="15"/>
                    </a:cubicBezTo>
                    <a:cubicBezTo>
                      <a:pt x="13" y="23"/>
                      <a:pt x="21" y="31"/>
                      <a:pt x="34" y="26"/>
                    </a:cubicBezTo>
                    <a:cubicBezTo>
                      <a:pt x="37" y="25"/>
                      <a:pt x="42" y="23"/>
                      <a:pt x="44" y="28"/>
                    </a:cubicBezTo>
                    <a:cubicBezTo>
                      <a:pt x="48" y="41"/>
                      <a:pt x="53" y="43"/>
                      <a:pt x="66" y="37"/>
                    </a:cubicBezTo>
                    <a:cubicBezTo>
                      <a:pt x="76" y="32"/>
                      <a:pt x="67" y="23"/>
                      <a:pt x="70" y="16"/>
                    </a:cubicBezTo>
                    <a:cubicBezTo>
                      <a:pt x="70" y="14"/>
                      <a:pt x="68" y="6"/>
                      <a:pt x="61" y="7"/>
                    </a:cubicBezTo>
                    <a:cubicBezTo>
                      <a:pt x="53" y="8"/>
                      <a:pt x="46" y="5"/>
                      <a:pt x="37" y="0"/>
                    </a:cubicBezTo>
                    <a:cubicBezTo>
                      <a:pt x="43" y="21"/>
                      <a:pt x="34" y="12"/>
                      <a:pt x="27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id="{11B96698-6F3A-537F-F540-EFEB8A8453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0565" y="22674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id="{D2902605-E746-F763-67F5-D5D658CD6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5859" y="2628546"/>
                <a:ext cx="70073" cy="242562"/>
              </a:xfrm>
              <a:custGeom>
                <a:avLst/>
                <a:gdLst>
                  <a:gd name="T0" fmla="*/ 1 w 29"/>
                  <a:gd name="T1" fmla="*/ 15 h 102"/>
                  <a:gd name="T2" fmla="*/ 1 w 29"/>
                  <a:gd name="T3" fmla="*/ 91 h 102"/>
                  <a:gd name="T4" fmla="*/ 8 w 29"/>
                  <a:gd name="T5" fmla="*/ 96 h 102"/>
                  <a:gd name="T6" fmla="*/ 17 w 29"/>
                  <a:gd name="T7" fmla="*/ 102 h 102"/>
                  <a:gd name="T8" fmla="*/ 11 w 29"/>
                  <a:gd name="T9" fmla="*/ 90 h 102"/>
                  <a:gd name="T10" fmla="*/ 18 w 29"/>
                  <a:gd name="T11" fmla="*/ 63 h 102"/>
                  <a:gd name="T12" fmla="*/ 23 w 29"/>
                  <a:gd name="T13" fmla="*/ 55 h 102"/>
                  <a:gd name="T14" fmla="*/ 15 w 29"/>
                  <a:gd name="T15" fmla="*/ 11 h 102"/>
                  <a:gd name="T16" fmla="*/ 8 w 29"/>
                  <a:gd name="T17" fmla="*/ 0 h 102"/>
                  <a:gd name="T18" fmla="*/ 1 w 29"/>
                  <a:gd name="T19" fmla="*/ 10 h 102"/>
                  <a:gd name="T20" fmla="*/ 1 w 29"/>
                  <a:gd name="T21" fmla="*/ 1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102">
                    <a:moveTo>
                      <a:pt x="1" y="15"/>
                    </a:moveTo>
                    <a:cubicBezTo>
                      <a:pt x="6" y="40"/>
                      <a:pt x="4" y="66"/>
                      <a:pt x="1" y="91"/>
                    </a:cubicBezTo>
                    <a:cubicBezTo>
                      <a:pt x="1" y="95"/>
                      <a:pt x="0" y="100"/>
                      <a:pt x="8" y="96"/>
                    </a:cubicBezTo>
                    <a:cubicBezTo>
                      <a:pt x="12" y="94"/>
                      <a:pt x="12" y="102"/>
                      <a:pt x="17" y="102"/>
                    </a:cubicBezTo>
                    <a:cubicBezTo>
                      <a:pt x="18" y="96"/>
                      <a:pt x="14" y="94"/>
                      <a:pt x="11" y="90"/>
                    </a:cubicBezTo>
                    <a:cubicBezTo>
                      <a:pt x="4" y="81"/>
                      <a:pt x="9" y="61"/>
                      <a:pt x="18" y="63"/>
                    </a:cubicBezTo>
                    <a:cubicBezTo>
                      <a:pt x="29" y="64"/>
                      <a:pt x="24" y="60"/>
                      <a:pt x="23" y="55"/>
                    </a:cubicBezTo>
                    <a:cubicBezTo>
                      <a:pt x="21" y="40"/>
                      <a:pt x="10" y="28"/>
                      <a:pt x="15" y="11"/>
                    </a:cubicBezTo>
                    <a:cubicBezTo>
                      <a:pt x="16" y="8"/>
                      <a:pt x="13" y="0"/>
                      <a:pt x="8" y="0"/>
                    </a:cubicBezTo>
                    <a:cubicBezTo>
                      <a:pt x="5" y="0"/>
                      <a:pt x="1" y="5"/>
                      <a:pt x="1" y="10"/>
                    </a:cubicBezTo>
                    <a:cubicBezTo>
                      <a:pt x="1" y="12"/>
                      <a:pt x="1" y="13"/>
                      <a:pt x="1" y="1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id="{41DEA32D-1AB8-1CAB-27C1-E4E87B898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31842" y="4988131"/>
                <a:ext cx="114544" cy="130714"/>
              </a:xfrm>
              <a:custGeom>
                <a:avLst/>
                <a:gdLst>
                  <a:gd name="T0" fmla="*/ 22 w 48"/>
                  <a:gd name="T1" fmla="*/ 4 h 55"/>
                  <a:gd name="T2" fmla="*/ 12 w 48"/>
                  <a:gd name="T3" fmla="*/ 4 h 55"/>
                  <a:gd name="T4" fmla="*/ 2 w 48"/>
                  <a:gd name="T5" fmla="*/ 27 h 55"/>
                  <a:gd name="T6" fmla="*/ 12 w 48"/>
                  <a:gd name="T7" fmla="*/ 37 h 55"/>
                  <a:gd name="T8" fmla="*/ 14 w 48"/>
                  <a:gd name="T9" fmla="*/ 46 h 55"/>
                  <a:gd name="T10" fmla="*/ 14 w 48"/>
                  <a:gd name="T11" fmla="*/ 54 h 55"/>
                  <a:gd name="T12" fmla="*/ 24 w 48"/>
                  <a:gd name="T13" fmla="*/ 52 h 55"/>
                  <a:gd name="T14" fmla="*/ 47 w 48"/>
                  <a:gd name="T15" fmla="*/ 17 h 55"/>
                  <a:gd name="T16" fmla="*/ 47 w 48"/>
                  <a:gd name="T17" fmla="*/ 9 h 55"/>
                  <a:gd name="T18" fmla="*/ 22 w 48"/>
                  <a:gd name="T19" fmla="*/ 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5">
                    <a:moveTo>
                      <a:pt x="22" y="4"/>
                    </a:moveTo>
                    <a:cubicBezTo>
                      <a:pt x="21" y="0"/>
                      <a:pt x="12" y="3"/>
                      <a:pt x="12" y="4"/>
                    </a:cubicBezTo>
                    <a:cubicBezTo>
                      <a:pt x="12" y="13"/>
                      <a:pt x="5" y="19"/>
                      <a:pt x="2" y="27"/>
                    </a:cubicBezTo>
                    <a:cubicBezTo>
                      <a:pt x="0" y="34"/>
                      <a:pt x="10" y="32"/>
                      <a:pt x="12" y="37"/>
                    </a:cubicBezTo>
                    <a:cubicBezTo>
                      <a:pt x="13" y="40"/>
                      <a:pt x="15" y="43"/>
                      <a:pt x="14" y="46"/>
                    </a:cubicBezTo>
                    <a:cubicBezTo>
                      <a:pt x="14" y="49"/>
                      <a:pt x="10" y="52"/>
                      <a:pt x="14" y="54"/>
                    </a:cubicBezTo>
                    <a:cubicBezTo>
                      <a:pt x="17" y="55"/>
                      <a:pt x="22" y="55"/>
                      <a:pt x="24" y="52"/>
                    </a:cubicBezTo>
                    <a:cubicBezTo>
                      <a:pt x="30" y="39"/>
                      <a:pt x="37" y="27"/>
                      <a:pt x="47" y="17"/>
                    </a:cubicBezTo>
                    <a:cubicBezTo>
                      <a:pt x="48" y="16"/>
                      <a:pt x="47" y="13"/>
                      <a:pt x="47" y="9"/>
                    </a:cubicBezTo>
                    <a:cubicBezTo>
                      <a:pt x="36" y="14"/>
                      <a:pt x="28" y="18"/>
                      <a:pt x="22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2">
                <a:extLst>
                  <a:ext uri="{FF2B5EF4-FFF2-40B4-BE49-F238E27FC236}">
                    <a16:creationId xmlns:a16="http://schemas.microsoft.com/office/drawing/2014/main" id="{1DF33200-5FF4-76A3-34E8-8356592BB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4600" y="20531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3">
                <a:extLst>
                  <a:ext uri="{FF2B5EF4-FFF2-40B4-BE49-F238E27FC236}">
                    <a16:creationId xmlns:a16="http://schemas.microsoft.com/office/drawing/2014/main" id="{67FC7F59-6725-4E64-2AE4-6DD7D2A54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6989" y="1669081"/>
                <a:ext cx="164402" cy="83549"/>
              </a:xfrm>
              <a:custGeom>
                <a:avLst/>
                <a:gdLst>
                  <a:gd name="T0" fmla="*/ 13 w 69"/>
                  <a:gd name="T1" fmla="*/ 32 h 35"/>
                  <a:gd name="T2" fmla="*/ 21 w 69"/>
                  <a:gd name="T3" fmla="*/ 33 h 35"/>
                  <a:gd name="T4" fmla="*/ 39 w 69"/>
                  <a:gd name="T5" fmla="*/ 23 h 35"/>
                  <a:gd name="T6" fmla="*/ 48 w 69"/>
                  <a:gd name="T7" fmla="*/ 22 h 35"/>
                  <a:gd name="T8" fmla="*/ 57 w 69"/>
                  <a:gd name="T9" fmla="*/ 24 h 35"/>
                  <a:gd name="T10" fmla="*/ 68 w 69"/>
                  <a:gd name="T11" fmla="*/ 4 h 35"/>
                  <a:gd name="T12" fmla="*/ 57 w 69"/>
                  <a:gd name="T13" fmla="*/ 4 h 35"/>
                  <a:gd name="T14" fmla="*/ 45 w 69"/>
                  <a:gd name="T15" fmla="*/ 3 h 35"/>
                  <a:gd name="T16" fmla="*/ 35 w 69"/>
                  <a:gd name="T17" fmla="*/ 7 h 35"/>
                  <a:gd name="T18" fmla="*/ 11 w 69"/>
                  <a:gd name="T19" fmla="*/ 22 h 35"/>
                  <a:gd name="T20" fmla="*/ 1 w 69"/>
                  <a:gd name="T21" fmla="*/ 30 h 35"/>
                  <a:gd name="T22" fmla="*/ 13 w 69"/>
                  <a:gd name="T23" fmla="*/ 3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35">
                    <a:moveTo>
                      <a:pt x="13" y="32"/>
                    </a:moveTo>
                    <a:cubicBezTo>
                      <a:pt x="16" y="32"/>
                      <a:pt x="18" y="33"/>
                      <a:pt x="21" y="33"/>
                    </a:cubicBezTo>
                    <a:cubicBezTo>
                      <a:pt x="29" y="34"/>
                      <a:pt x="37" y="35"/>
                      <a:pt x="39" y="23"/>
                    </a:cubicBezTo>
                    <a:cubicBezTo>
                      <a:pt x="41" y="12"/>
                      <a:pt x="44" y="16"/>
                      <a:pt x="48" y="22"/>
                    </a:cubicBezTo>
                    <a:cubicBezTo>
                      <a:pt x="51" y="27"/>
                      <a:pt x="53" y="27"/>
                      <a:pt x="57" y="24"/>
                    </a:cubicBezTo>
                    <a:cubicBezTo>
                      <a:pt x="64" y="18"/>
                      <a:pt x="69" y="12"/>
                      <a:pt x="68" y="4"/>
                    </a:cubicBezTo>
                    <a:cubicBezTo>
                      <a:pt x="68" y="0"/>
                      <a:pt x="61" y="1"/>
                      <a:pt x="57" y="4"/>
                    </a:cubicBezTo>
                    <a:cubicBezTo>
                      <a:pt x="53" y="6"/>
                      <a:pt x="49" y="5"/>
                      <a:pt x="45" y="3"/>
                    </a:cubicBezTo>
                    <a:cubicBezTo>
                      <a:pt x="41" y="1"/>
                      <a:pt x="38" y="5"/>
                      <a:pt x="35" y="7"/>
                    </a:cubicBezTo>
                    <a:cubicBezTo>
                      <a:pt x="28" y="13"/>
                      <a:pt x="20" y="19"/>
                      <a:pt x="11" y="22"/>
                    </a:cubicBezTo>
                    <a:cubicBezTo>
                      <a:pt x="6" y="23"/>
                      <a:pt x="0" y="24"/>
                      <a:pt x="1" y="30"/>
                    </a:cubicBezTo>
                    <a:cubicBezTo>
                      <a:pt x="2" y="35"/>
                      <a:pt x="9" y="31"/>
                      <a:pt x="13" y="3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4">
                <a:extLst>
                  <a:ext uri="{FF2B5EF4-FFF2-40B4-BE49-F238E27FC236}">
                    <a16:creationId xmlns:a16="http://schemas.microsoft.com/office/drawing/2014/main" id="{2D501B76-03AD-1F93-6277-6B3CDAF81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953" y="1566667"/>
                <a:ext cx="161708" cy="87592"/>
              </a:xfrm>
              <a:custGeom>
                <a:avLst/>
                <a:gdLst>
                  <a:gd name="T0" fmla="*/ 4 w 68"/>
                  <a:gd name="T1" fmla="*/ 12 h 37"/>
                  <a:gd name="T2" fmla="*/ 21 w 68"/>
                  <a:gd name="T3" fmla="*/ 18 h 37"/>
                  <a:gd name="T4" fmla="*/ 10 w 68"/>
                  <a:gd name="T5" fmla="*/ 28 h 37"/>
                  <a:gd name="T6" fmla="*/ 53 w 68"/>
                  <a:gd name="T7" fmla="*/ 35 h 37"/>
                  <a:gd name="T8" fmla="*/ 64 w 68"/>
                  <a:gd name="T9" fmla="*/ 33 h 37"/>
                  <a:gd name="T10" fmla="*/ 60 w 68"/>
                  <a:gd name="T11" fmla="*/ 23 h 37"/>
                  <a:gd name="T12" fmla="*/ 5 w 68"/>
                  <a:gd name="T13" fmla="*/ 3 h 37"/>
                  <a:gd name="T14" fmla="*/ 0 w 68"/>
                  <a:gd name="T15" fmla="*/ 7 h 37"/>
                  <a:gd name="T16" fmla="*/ 4 w 68"/>
                  <a:gd name="T17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37">
                    <a:moveTo>
                      <a:pt x="4" y="12"/>
                    </a:moveTo>
                    <a:cubicBezTo>
                      <a:pt x="9" y="15"/>
                      <a:pt x="17" y="12"/>
                      <a:pt x="21" y="18"/>
                    </a:cubicBezTo>
                    <a:cubicBezTo>
                      <a:pt x="19" y="23"/>
                      <a:pt x="11" y="19"/>
                      <a:pt x="10" y="28"/>
                    </a:cubicBezTo>
                    <a:cubicBezTo>
                      <a:pt x="26" y="22"/>
                      <a:pt x="40" y="27"/>
                      <a:pt x="53" y="35"/>
                    </a:cubicBezTo>
                    <a:cubicBezTo>
                      <a:pt x="56" y="37"/>
                      <a:pt x="61" y="36"/>
                      <a:pt x="64" y="33"/>
                    </a:cubicBezTo>
                    <a:cubicBezTo>
                      <a:pt x="68" y="27"/>
                      <a:pt x="62" y="25"/>
                      <a:pt x="60" y="23"/>
                    </a:cubicBezTo>
                    <a:cubicBezTo>
                      <a:pt x="44" y="11"/>
                      <a:pt x="27" y="0"/>
                      <a:pt x="5" y="3"/>
                    </a:cubicBezTo>
                    <a:cubicBezTo>
                      <a:pt x="2" y="3"/>
                      <a:pt x="0" y="4"/>
                      <a:pt x="0" y="7"/>
                    </a:cubicBezTo>
                    <a:cubicBezTo>
                      <a:pt x="0" y="9"/>
                      <a:pt x="2" y="11"/>
                      <a:pt x="4" y="1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5">
                <a:extLst>
                  <a:ext uri="{FF2B5EF4-FFF2-40B4-BE49-F238E27FC236}">
                    <a16:creationId xmlns:a16="http://schemas.microsoft.com/office/drawing/2014/main" id="{7E725DD5-6D30-59DB-B29E-5E593D503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9375" y="4186332"/>
                <a:ext cx="227738" cy="86244"/>
              </a:xfrm>
              <a:custGeom>
                <a:avLst/>
                <a:gdLst>
                  <a:gd name="T0" fmla="*/ 96 w 96"/>
                  <a:gd name="T1" fmla="*/ 33 h 36"/>
                  <a:gd name="T2" fmla="*/ 74 w 96"/>
                  <a:gd name="T3" fmla="*/ 24 h 36"/>
                  <a:gd name="T4" fmla="*/ 53 w 96"/>
                  <a:gd name="T5" fmla="*/ 15 h 36"/>
                  <a:gd name="T6" fmla="*/ 30 w 96"/>
                  <a:gd name="T7" fmla="*/ 11 h 36"/>
                  <a:gd name="T8" fmla="*/ 0 w 96"/>
                  <a:gd name="T9" fmla="*/ 14 h 36"/>
                  <a:gd name="T10" fmla="*/ 35 w 96"/>
                  <a:gd name="T11" fmla="*/ 21 h 36"/>
                  <a:gd name="T12" fmla="*/ 41 w 96"/>
                  <a:gd name="T13" fmla="*/ 24 h 36"/>
                  <a:gd name="T14" fmla="*/ 96 w 96"/>
                  <a:gd name="T15" fmla="*/ 3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36">
                    <a:moveTo>
                      <a:pt x="96" y="33"/>
                    </a:moveTo>
                    <a:cubicBezTo>
                      <a:pt x="88" y="24"/>
                      <a:pt x="76" y="30"/>
                      <a:pt x="74" y="24"/>
                    </a:cubicBezTo>
                    <a:cubicBezTo>
                      <a:pt x="69" y="13"/>
                      <a:pt x="61" y="16"/>
                      <a:pt x="53" y="15"/>
                    </a:cubicBezTo>
                    <a:cubicBezTo>
                      <a:pt x="45" y="14"/>
                      <a:pt x="38" y="14"/>
                      <a:pt x="30" y="11"/>
                    </a:cubicBezTo>
                    <a:cubicBezTo>
                      <a:pt x="21" y="7"/>
                      <a:pt x="9" y="0"/>
                      <a:pt x="0" y="14"/>
                    </a:cubicBezTo>
                    <a:cubicBezTo>
                      <a:pt x="11" y="19"/>
                      <a:pt x="21" y="26"/>
                      <a:pt x="35" y="21"/>
                    </a:cubicBezTo>
                    <a:cubicBezTo>
                      <a:pt x="36" y="21"/>
                      <a:pt x="39" y="23"/>
                      <a:pt x="41" y="24"/>
                    </a:cubicBezTo>
                    <a:cubicBezTo>
                      <a:pt x="57" y="36"/>
                      <a:pt x="76" y="33"/>
                      <a:pt x="96" y="3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6">
                <a:extLst>
                  <a:ext uri="{FF2B5EF4-FFF2-40B4-BE49-F238E27FC236}">
                    <a16:creationId xmlns:a16="http://schemas.microsoft.com/office/drawing/2014/main" id="{6C732BF9-A8F8-41AB-A714-BB91BAA02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0575" y="1570710"/>
                <a:ext cx="142841" cy="83549"/>
              </a:xfrm>
              <a:custGeom>
                <a:avLst/>
                <a:gdLst>
                  <a:gd name="T0" fmla="*/ 52 w 60"/>
                  <a:gd name="T1" fmla="*/ 24 h 35"/>
                  <a:gd name="T2" fmla="*/ 56 w 60"/>
                  <a:gd name="T3" fmla="*/ 14 h 35"/>
                  <a:gd name="T4" fmla="*/ 6 w 60"/>
                  <a:gd name="T5" fmla="*/ 18 h 35"/>
                  <a:gd name="T6" fmla="*/ 0 w 60"/>
                  <a:gd name="T7" fmla="*/ 30 h 35"/>
                  <a:gd name="T8" fmla="*/ 52 w 60"/>
                  <a:gd name="T9" fmla="*/ 2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35">
                    <a:moveTo>
                      <a:pt x="52" y="24"/>
                    </a:moveTo>
                    <a:cubicBezTo>
                      <a:pt x="57" y="23"/>
                      <a:pt x="60" y="19"/>
                      <a:pt x="56" y="14"/>
                    </a:cubicBezTo>
                    <a:cubicBezTo>
                      <a:pt x="43" y="0"/>
                      <a:pt x="16" y="3"/>
                      <a:pt x="6" y="18"/>
                    </a:cubicBezTo>
                    <a:cubicBezTo>
                      <a:pt x="4" y="22"/>
                      <a:pt x="2" y="25"/>
                      <a:pt x="0" y="30"/>
                    </a:cubicBezTo>
                    <a:cubicBezTo>
                      <a:pt x="19" y="35"/>
                      <a:pt x="35" y="27"/>
                      <a:pt x="52" y="2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7">
                <a:extLst>
                  <a:ext uri="{FF2B5EF4-FFF2-40B4-BE49-F238E27FC236}">
                    <a16:creationId xmlns:a16="http://schemas.microsoft.com/office/drawing/2014/main" id="{F3174117-7A8E-8967-4C65-4CCDA9DD3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31389" y="2888627"/>
                <a:ext cx="145537" cy="114543"/>
              </a:xfrm>
              <a:custGeom>
                <a:avLst/>
                <a:gdLst>
                  <a:gd name="T0" fmla="*/ 19 w 61"/>
                  <a:gd name="T1" fmla="*/ 8 h 48"/>
                  <a:gd name="T2" fmla="*/ 8 w 61"/>
                  <a:gd name="T3" fmla="*/ 29 h 48"/>
                  <a:gd name="T4" fmla="*/ 6 w 61"/>
                  <a:gd name="T5" fmla="*/ 48 h 48"/>
                  <a:gd name="T6" fmla="*/ 21 w 61"/>
                  <a:gd name="T7" fmla="*/ 37 h 48"/>
                  <a:gd name="T8" fmla="*/ 29 w 61"/>
                  <a:gd name="T9" fmla="*/ 41 h 48"/>
                  <a:gd name="T10" fmla="*/ 57 w 61"/>
                  <a:gd name="T11" fmla="*/ 25 h 48"/>
                  <a:gd name="T12" fmla="*/ 55 w 61"/>
                  <a:gd name="T13" fmla="*/ 17 h 48"/>
                  <a:gd name="T14" fmla="*/ 26 w 61"/>
                  <a:gd name="T15" fmla="*/ 4 h 48"/>
                  <a:gd name="T16" fmla="*/ 21 w 61"/>
                  <a:gd name="T17" fmla="*/ 2 h 48"/>
                  <a:gd name="T18" fmla="*/ 19 w 61"/>
                  <a:gd name="T19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8">
                    <a:moveTo>
                      <a:pt x="19" y="8"/>
                    </a:moveTo>
                    <a:cubicBezTo>
                      <a:pt x="18" y="16"/>
                      <a:pt x="17" y="24"/>
                      <a:pt x="8" y="29"/>
                    </a:cubicBezTo>
                    <a:cubicBezTo>
                      <a:pt x="1" y="33"/>
                      <a:pt x="0" y="40"/>
                      <a:pt x="6" y="48"/>
                    </a:cubicBezTo>
                    <a:cubicBezTo>
                      <a:pt x="4" y="33"/>
                      <a:pt x="14" y="38"/>
                      <a:pt x="21" y="37"/>
                    </a:cubicBezTo>
                    <a:cubicBezTo>
                      <a:pt x="25" y="37"/>
                      <a:pt x="28" y="41"/>
                      <a:pt x="29" y="41"/>
                    </a:cubicBezTo>
                    <a:cubicBezTo>
                      <a:pt x="36" y="32"/>
                      <a:pt x="49" y="33"/>
                      <a:pt x="57" y="25"/>
                    </a:cubicBezTo>
                    <a:cubicBezTo>
                      <a:pt x="61" y="20"/>
                      <a:pt x="57" y="17"/>
                      <a:pt x="55" y="17"/>
                    </a:cubicBezTo>
                    <a:cubicBezTo>
                      <a:pt x="40" y="24"/>
                      <a:pt x="34" y="11"/>
                      <a:pt x="26" y="4"/>
                    </a:cubicBezTo>
                    <a:cubicBezTo>
                      <a:pt x="25" y="3"/>
                      <a:pt x="24" y="0"/>
                      <a:pt x="21" y="2"/>
                    </a:cubicBezTo>
                    <a:cubicBezTo>
                      <a:pt x="19" y="3"/>
                      <a:pt x="19" y="5"/>
                      <a:pt x="19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8">
                <a:extLst>
                  <a:ext uri="{FF2B5EF4-FFF2-40B4-BE49-F238E27FC236}">
                    <a16:creationId xmlns:a16="http://schemas.microsoft.com/office/drawing/2014/main" id="{F62CBBF9-94AD-FB75-371C-FE4E11554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3924" y="4062355"/>
                <a:ext cx="109154" cy="111847"/>
              </a:xfrm>
              <a:custGeom>
                <a:avLst/>
                <a:gdLst>
                  <a:gd name="T0" fmla="*/ 7 w 46"/>
                  <a:gd name="T1" fmla="*/ 17 h 47"/>
                  <a:gd name="T2" fmla="*/ 8 w 46"/>
                  <a:gd name="T3" fmla="*/ 36 h 47"/>
                  <a:gd name="T4" fmla="*/ 20 w 46"/>
                  <a:gd name="T5" fmla="*/ 29 h 47"/>
                  <a:gd name="T6" fmla="*/ 27 w 46"/>
                  <a:gd name="T7" fmla="*/ 40 h 47"/>
                  <a:gd name="T8" fmla="*/ 34 w 46"/>
                  <a:gd name="T9" fmla="*/ 45 h 47"/>
                  <a:gd name="T10" fmla="*/ 38 w 46"/>
                  <a:gd name="T11" fmla="*/ 37 h 47"/>
                  <a:gd name="T12" fmla="*/ 36 w 46"/>
                  <a:gd name="T13" fmla="*/ 25 h 47"/>
                  <a:gd name="T14" fmla="*/ 39 w 46"/>
                  <a:gd name="T15" fmla="*/ 14 h 47"/>
                  <a:gd name="T16" fmla="*/ 46 w 46"/>
                  <a:gd name="T17" fmla="*/ 8 h 47"/>
                  <a:gd name="T18" fmla="*/ 14 w 46"/>
                  <a:gd name="T19" fmla="*/ 5 h 47"/>
                  <a:gd name="T20" fmla="*/ 7 w 46"/>
                  <a:gd name="T2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47">
                    <a:moveTo>
                      <a:pt x="7" y="17"/>
                    </a:moveTo>
                    <a:cubicBezTo>
                      <a:pt x="2" y="24"/>
                      <a:pt x="0" y="30"/>
                      <a:pt x="8" y="36"/>
                    </a:cubicBezTo>
                    <a:cubicBezTo>
                      <a:pt x="17" y="43"/>
                      <a:pt x="14" y="28"/>
                      <a:pt x="20" y="29"/>
                    </a:cubicBezTo>
                    <a:cubicBezTo>
                      <a:pt x="25" y="31"/>
                      <a:pt x="24" y="36"/>
                      <a:pt x="27" y="40"/>
                    </a:cubicBezTo>
                    <a:cubicBezTo>
                      <a:pt x="29" y="42"/>
                      <a:pt x="30" y="47"/>
                      <a:pt x="34" y="45"/>
                    </a:cubicBezTo>
                    <a:cubicBezTo>
                      <a:pt x="38" y="44"/>
                      <a:pt x="41" y="40"/>
                      <a:pt x="38" y="37"/>
                    </a:cubicBezTo>
                    <a:cubicBezTo>
                      <a:pt x="36" y="33"/>
                      <a:pt x="41" y="29"/>
                      <a:pt x="36" y="25"/>
                    </a:cubicBezTo>
                    <a:cubicBezTo>
                      <a:pt x="29" y="20"/>
                      <a:pt x="35" y="16"/>
                      <a:pt x="39" y="14"/>
                    </a:cubicBezTo>
                    <a:cubicBezTo>
                      <a:pt x="41" y="12"/>
                      <a:pt x="46" y="13"/>
                      <a:pt x="46" y="8"/>
                    </a:cubicBezTo>
                    <a:cubicBezTo>
                      <a:pt x="36" y="0"/>
                      <a:pt x="22" y="25"/>
                      <a:pt x="14" y="5"/>
                    </a:cubicBezTo>
                    <a:cubicBezTo>
                      <a:pt x="6" y="6"/>
                      <a:pt x="11" y="14"/>
                      <a:pt x="7" y="1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9">
                <a:extLst>
                  <a:ext uri="{FF2B5EF4-FFF2-40B4-BE49-F238E27FC236}">
                    <a16:creationId xmlns:a16="http://schemas.microsoft.com/office/drawing/2014/main" id="{877ACF9A-D469-6250-1238-45826F2B6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6242" y="3484250"/>
                <a:ext cx="207525" cy="88939"/>
              </a:xfrm>
              <a:custGeom>
                <a:avLst/>
                <a:gdLst>
                  <a:gd name="T0" fmla="*/ 22 w 87"/>
                  <a:gd name="T1" fmla="*/ 4 h 37"/>
                  <a:gd name="T2" fmla="*/ 0 w 87"/>
                  <a:gd name="T3" fmla="*/ 9 h 37"/>
                  <a:gd name="T4" fmla="*/ 7 w 87"/>
                  <a:gd name="T5" fmla="*/ 7 h 37"/>
                  <a:gd name="T6" fmla="*/ 52 w 87"/>
                  <a:gd name="T7" fmla="*/ 29 h 37"/>
                  <a:gd name="T8" fmla="*/ 77 w 87"/>
                  <a:gd name="T9" fmla="*/ 36 h 37"/>
                  <a:gd name="T10" fmla="*/ 85 w 87"/>
                  <a:gd name="T11" fmla="*/ 33 h 37"/>
                  <a:gd name="T12" fmla="*/ 79 w 87"/>
                  <a:gd name="T13" fmla="*/ 26 h 37"/>
                  <a:gd name="T14" fmla="*/ 22 w 87"/>
                  <a:gd name="T15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7" h="37">
                    <a:moveTo>
                      <a:pt x="22" y="4"/>
                    </a:moveTo>
                    <a:cubicBezTo>
                      <a:pt x="15" y="1"/>
                      <a:pt x="6" y="0"/>
                      <a:pt x="0" y="9"/>
                    </a:cubicBezTo>
                    <a:cubicBezTo>
                      <a:pt x="2" y="7"/>
                      <a:pt x="5" y="5"/>
                      <a:pt x="7" y="7"/>
                    </a:cubicBezTo>
                    <a:cubicBezTo>
                      <a:pt x="21" y="17"/>
                      <a:pt x="40" y="16"/>
                      <a:pt x="52" y="29"/>
                    </a:cubicBezTo>
                    <a:cubicBezTo>
                      <a:pt x="59" y="37"/>
                      <a:pt x="68" y="36"/>
                      <a:pt x="77" y="36"/>
                    </a:cubicBezTo>
                    <a:cubicBezTo>
                      <a:pt x="80" y="36"/>
                      <a:pt x="84" y="37"/>
                      <a:pt x="85" y="33"/>
                    </a:cubicBezTo>
                    <a:cubicBezTo>
                      <a:pt x="87" y="28"/>
                      <a:pt x="82" y="28"/>
                      <a:pt x="79" y="26"/>
                    </a:cubicBezTo>
                    <a:cubicBezTo>
                      <a:pt x="60" y="19"/>
                      <a:pt x="41" y="10"/>
                      <a:pt x="22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40">
                <a:extLst>
                  <a:ext uri="{FF2B5EF4-FFF2-40B4-BE49-F238E27FC236}">
                    <a16:creationId xmlns:a16="http://schemas.microsoft.com/office/drawing/2014/main" id="{502BD47F-B643-093A-FB56-68CF8A73F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4778" y="3823835"/>
                <a:ext cx="130714" cy="97025"/>
              </a:xfrm>
              <a:custGeom>
                <a:avLst/>
                <a:gdLst>
                  <a:gd name="T0" fmla="*/ 46 w 55"/>
                  <a:gd name="T1" fmla="*/ 10 h 41"/>
                  <a:gd name="T2" fmla="*/ 34 w 55"/>
                  <a:gd name="T3" fmla="*/ 6 h 41"/>
                  <a:gd name="T4" fmla="*/ 22 w 55"/>
                  <a:gd name="T5" fmla="*/ 14 h 41"/>
                  <a:gd name="T6" fmla="*/ 0 w 55"/>
                  <a:gd name="T7" fmla="*/ 27 h 41"/>
                  <a:gd name="T8" fmla="*/ 24 w 55"/>
                  <a:gd name="T9" fmla="*/ 36 h 41"/>
                  <a:gd name="T10" fmla="*/ 34 w 55"/>
                  <a:gd name="T11" fmla="*/ 41 h 41"/>
                  <a:gd name="T12" fmla="*/ 36 w 55"/>
                  <a:gd name="T13" fmla="*/ 34 h 41"/>
                  <a:gd name="T14" fmla="*/ 38 w 55"/>
                  <a:gd name="T15" fmla="*/ 29 h 41"/>
                  <a:gd name="T16" fmla="*/ 46 w 55"/>
                  <a:gd name="T17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1">
                    <a:moveTo>
                      <a:pt x="46" y="10"/>
                    </a:moveTo>
                    <a:cubicBezTo>
                      <a:pt x="45" y="0"/>
                      <a:pt x="40" y="2"/>
                      <a:pt x="34" y="6"/>
                    </a:cubicBezTo>
                    <a:cubicBezTo>
                      <a:pt x="30" y="9"/>
                      <a:pt x="28" y="17"/>
                      <a:pt x="22" y="14"/>
                    </a:cubicBezTo>
                    <a:cubicBezTo>
                      <a:pt x="10" y="9"/>
                      <a:pt x="7" y="18"/>
                      <a:pt x="0" y="27"/>
                    </a:cubicBezTo>
                    <a:cubicBezTo>
                      <a:pt x="14" y="22"/>
                      <a:pt x="23" y="20"/>
                      <a:pt x="24" y="36"/>
                    </a:cubicBezTo>
                    <a:cubicBezTo>
                      <a:pt x="24" y="41"/>
                      <a:pt x="30" y="41"/>
                      <a:pt x="34" y="41"/>
                    </a:cubicBezTo>
                    <a:cubicBezTo>
                      <a:pt x="41" y="40"/>
                      <a:pt x="36" y="37"/>
                      <a:pt x="36" y="34"/>
                    </a:cubicBezTo>
                    <a:cubicBezTo>
                      <a:pt x="35" y="32"/>
                      <a:pt x="36" y="30"/>
                      <a:pt x="38" y="29"/>
                    </a:cubicBezTo>
                    <a:cubicBezTo>
                      <a:pt x="55" y="28"/>
                      <a:pt x="46" y="17"/>
                      <a:pt x="46" y="1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41">
                <a:extLst>
                  <a:ext uri="{FF2B5EF4-FFF2-40B4-BE49-F238E27FC236}">
                    <a16:creationId xmlns:a16="http://schemas.microsoft.com/office/drawing/2014/main" id="{EBA0AA01-472A-5B34-F826-4CE0CCFB2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43236" y="5087852"/>
                <a:ext cx="80854" cy="98372"/>
              </a:xfrm>
              <a:custGeom>
                <a:avLst/>
                <a:gdLst>
                  <a:gd name="T0" fmla="*/ 22 w 34"/>
                  <a:gd name="T1" fmla="*/ 6 h 41"/>
                  <a:gd name="T2" fmla="*/ 0 w 34"/>
                  <a:gd name="T3" fmla="*/ 5 h 41"/>
                  <a:gd name="T4" fmla="*/ 4 w 34"/>
                  <a:gd name="T5" fmla="*/ 27 h 41"/>
                  <a:gd name="T6" fmla="*/ 18 w 34"/>
                  <a:gd name="T7" fmla="*/ 38 h 41"/>
                  <a:gd name="T8" fmla="*/ 34 w 34"/>
                  <a:gd name="T9" fmla="*/ 14 h 41"/>
                  <a:gd name="T10" fmla="*/ 22 w 34"/>
                  <a:gd name="T11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41">
                    <a:moveTo>
                      <a:pt x="22" y="6"/>
                    </a:moveTo>
                    <a:cubicBezTo>
                      <a:pt x="14" y="12"/>
                      <a:pt x="8" y="8"/>
                      <a:pt x="0" y="5"/>
                    </a:cubicBezTo>
                    <a:cubicBezTo>
                      <a:pt x="1" y="14"/>
                      <a:pt x="3" y="20"/>
                      <a:pt x="4" y="27"/>
                    </a:cubicBezTo>
                    <a:cubicBezTo>
                      <a:pt x="4" y="34"/>
                      <a:pt x="12" y="41"/>
                      <a:pt x="18" y="38"/>
                    </a:cubicBezTo>
                    <a:cubicBezTo>
                      <a:pt x="26" y="33"/>
                      <a:pt x="34" y="25"/>
                      <a:pt x="34" y="14"/>
                    </a:cubicBezTo>
                    <a:cubicBezTo>
                      <a:pt x="34" y="6"/>
                      <a:pt x="29" y="0"/>
                      <a:pt x="22" y="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42">
                <a:extLst>
                  <a:ext uri="{FF2B5EF4-FFF2-40B4-BE49-F238E27FC236}">
                    <a16:creationId xmlns:a16="http://schemas.microsoft.com/office/drawing/2014/main" id="{7FABD90C-62D0-0971-ED5B-121C505E1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8181" y="3610921"/>
                <a:ext cx="74116" cy="119933"/>
              </a:xfrm>
              <a:custGeom>
                <a:avLst/>
                <a:gdLst>
                  <a:gd name="T0" fmla="*/ 7 w 31"/>
                  <a:gd name="T1" fmla="*/ 25 h 50"/>
                  <a:gd name="T2" fmla="*/ 12 w 31"/>
                  <a:gd name="T3" fmla="*/ 44 h 50"/>
                  <a:gd name="T4" fmla="*/ 23 w 31"/>
                  <a:gd name="T5" fmla="*/ 46 h 50"/>
                  <a:gd name="T6" fmla="*/ 29 w 31"/>
                  <a:gd name="T7" fmla="*/ 17 h 50"/>
                  <a:gd name="T8" fmla="*/ 19 w 31"/>
                  <a:gd name="T9" fmla="*/ 1 h 50"/>
                  <a:gd name="T10" fmla="*/ 11 w 31"/>
                  <a:gd name="T11" fmla="*/ 13 h 50"/>
                  <a:gd name="T12" fmla="*/ 7 w 31"/>
                  <a:gd name="T13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0">
                    <a:moveTo>
                      <a:pt x="7" y="25"/>
                    </a:moveTo>
                    <a:cubicBezTo>
                      <a:pt x="0" y="33"/>
                      <a:pt x="12" y="37"/>
                      <a:pt x="12" y="44"/>
                    </a:cubicBezTo>
                    <a:cubicBezTo>
                      <a:pt x="12" y="50"/>
                      <a:pt x="19" y="45"/>
                      <a:pt x="23" y="46"/>
                    </a:cubicBezTo>
                    <a:cubicBezTo>
                      <a:pt x="22" y="36"/>
                      <a:pt x="25" y="27"/>
                      <a:pt x="29" y="17"/>
                    </a:cubicBezTo>
                    <a:cubicBezTo>
                      <a:pt x="31" y="10"/>
                      <a:pt x="29" y="2"/>
                      <a:pt x="19" y="1"/>
                    </a:cubicBezTo>
                    <a:cubicBezTo>
                      <a:pt x="8" y="0"/>
                      <a:pt x="11" y="8"/>
                      <a:pt x="11" y="13"/>
                    </a:cubicBezTo>
                    <a:cubicBezTo>
                      <a:pt x="11" y="17"/>
                      <a:pt x="11" y="21"/>
                      <a:pt x="7" y="2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43">
                <a:extLst>
                  <a:ext uri="{FF2B5EF4-FFF2-40B4-BE49-F238E27FC236}">
                    <a16:creationId xmlns:a16="http://schemas.microsoft.com/office/drawing/2014/main" id="{E56769B8-A570-7329-2C9F-62532426F7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0504" y="3563757"/>
                <a:ext cx="136104" cy="61987"/>
              </a:xfrm>
              <a:custGeom>
                <a:avLst/>
                <a:gdLst>
                  <a:gd name="T0" fmla="*/ 57 w 57"/>
                  <a:gd name="T1" fmla="*/ 16 h 26"/>
                  <a:gd name="T2" fmla="*/ 25 w 57"/>
                  <a:gd name="T3" fmla="*/ 5 h 26"/>
                  <a:gd name="T4" fmla="*/ 15 w 57"/>
                  <a:gd name="T5" fmla="*/ 17 h 26"/>
                  <a:gd name="T6" fmla="*/ 0 w 57"/>
                  <a:gd name="T7" fmla="*/ 18 h 26"/>
                  <a:gd name="T8" fmla="*/ 57 w 57"/>
                  <a:gd name="T9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26">
                    <a:moveTo>
                      <a:pt x="57" y="16"/>
                    </a:moveTo>
                    <a:cubicBezTo>
                      <a:pt x="47" y="6"/>
                      <a:pt x="35" y="8"/>
                      <a:pt x="25" y="5"/>
                    </a:cubicBezTo>
                    <a:cubicBezTo>
                      <a:pt x="9" y="0"/>
                      <a:pt x="8" y="4"/>
                      <a:pt x="15" y="17"/>
                    </a:cubicBezTo>
                    <a:cubicBezTo>
                      <a:pt x="9" y="18"/>
                      <a:pt x="5" y="18"/>
                      <a:pt x="0" y="18"/>
                    </a:cubicBezTo>
                    <a:cubicBezTo>
                      <a:pt x="20" y="26"/>
                      <a:pt x="38" y="22"/>
                      <a:pt x="57" y="1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44">
                <a:extLst>
                  <a:ext uri="{FF2B5EF4-FFF2-40B4-BE49-F238E27FC236}">
                    <a16:creationId xmlns:a16="http://schemas.microsoft.com/office/drawing/2014/main" id="{DC5A993F-F08A-5800-60FE-96770A54A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098" y="3827880"/>
                <a:ext cx="56597" cy="92982"/>
              </a:xfrm>
              <a:custGeom>
                <a:avLst/>
                <a:gdLst>
                  <a:gd name="T0" fmla="*/ 8 w 24"/>
                  <a:gd name="T1" fmla="*/ 0 h 39"/>
                  <a:gd name="T2" fmla="*/ 5 w 24"/>
                  <a:gd name="T3" fmla="*/ 1 h 39"/>
                  <a:gd name="T4" fmla="*/ 9 w 24"/>
                  <a:gd name="T5" fmla="*/ 37 h 39"/>
                  <a:gd name="T6" fmla="*/ 14 w 24"/>
                  <a:gd name="T7" fmla="*/ 38 h 39"/>
                  <a:gd name="T8" fmla="*/ 23 w 24"/>
                  <a:gd name="T9" fmla="*/ 22 h 39"/>
                  <a:gd name="T10" fmla="*/ 8 w 2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39">
                    <a:moveTo>
                      <a:pt x="8" y="0"/>
                    </a:moveTo>
                    <a:cubicBezTo>
                      <a:pt x="7" y="1"/>
                      <a:pt x="6" y="1"/>
                      <a:pt x="5" y="1"/>
                    </a:cubicBezTo>
                    <a:cubicBezTo>
                      <a:pt x="0" y="5"/>
                      <a:pt x="3" y="34"/>
                      <a:pt x="9" y="37"/>
                    </a:cubicBezTo>
                    <a:cubicBezTo>
                      <a:pt x="10" y="38"/>
                      <a:pt x="12" y="39"/>
                      <a:pt x="14" y="38"/>
                    </a:cubicBezTo>
                    <a:cubicBezTo>
                      <a:pt x="21" y="34"/>
                      <a:pt x="24" y="29"/>
                      <a:pt x="23" y="22"/>
                    </a:cubicBezTo>
                    <a:cubicBezTo>
                      <a:pt x="21" y="13"/>
                      <a:pt x="16" y="6"/>
                      <a:pt x="8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47DE58AF-1233-56D3-EBEC-F90C23E8D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00145" y="1873911"/>
                <a:ext cx="1348" cy="1347"/>
              </a:xfrm>
              <a:prstGeom prst="ellipse">
                <a:avLst/>
              </a:pr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46">
                <a:extLst>
                  <a:ext uri="{FF2B5EF4-FFF2-40B4-BE49-F238E27FC236}">
                    <a16:creationId xmlns:a16="http://schemas.microsoft.com/office/drawing/2014/main" id="{DC833C92-BFB9-F8F9-E1BE-ED37AB8B1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796" y="1841569"/>
                <a:ext cx="99719" cy="66030"/>
              </a:xfrm>
              <a:custGeom>
                <a:avLst/>
                <a:gdLst>
                  <a:gd name="T0" fmla="*/ 28 w 42"/>
                  <a:gd name="T1" fmla="*/ 26 h 28"/>
                  <a:gd name="T2" fmla="*/ 32 w 42"/>
                  <a:gd name="T3" fmla="*/ 20 h 28"/>
                  <a:gd name="T4" fmla="*/ 42 w 42"/>
                  <a:gd name="T5" fmla="*/ 18 h 28"/>
                  <a:gd name="T6" fmla="*/ 13 w 42"/>
                  <a:gd name="T7" fmla="*/ 6 h 28"/>
                  <a:gd name="T8" fmla="*/ 1 w 42"/>
                  <a:gd name="T9" fmla="*/ 14 h 28"/>
                  <a:gd name="T10" fmla="*/ 28 w 42"/>
                  <a:gd name="T11" fmla="*/ 2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28">
                    <a:moveTo>
                      <a:pt x="28" y="26"/>
                    </a:moveTo>
                    <a:cubicBezTo>
                      <a:pt x="25" y="21"/>
                      <a:pt x="29" y="21"/>
                      <a:pt x="32" y="20"/>
                    </a:cubicBezTo>
                    <a:cubicBezTo>
                      <a:pt x="35" y="19"/>
                      <a:pt x="41" y="23"/>
                      <a:pt x="42" y="18"/>
                    </a:cubicBezTo>
                    <a:cubicBezTo>
                      <a:pt x="36" y="4"/>
                      <a:pt x="22" y="11"/>
                      <a:pt x="13" y="6"/>
                    </a:cubicBezTo>
                    <a:cubicBezTo>
                      <a:pt x="2" y="0"/>
                      <a:pt x="0" y="4"/>
                      <a:pt x="1" y="14"/>
                    </a:cubicBezTo>
                    <a:cubicBezTo>
                      <a:pt x="9" y="20"/>
                      <a:pt x="16" y="28"/>
                      <a:pt x="28" y="2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47">
                <a:extLst>
                  <a:ext uri="{FF2B5EF4-FFF2-40B4-BE49-F238E27FC236}">
                    <a16:creationId xmlns:a16="http://schemas.microsoft.com/office/drawing/2014/main" id="{5D692338-6C43-8FE8-7CDF-FC25E3CA8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4827" y="190355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48">
                <a:extLst>
                  <a:ext uri="{FF2B5EF4-FFF2-40B4-BE49-F238E27FC236}">
                    <a16:creationId xmlns:a16="http://schemas.microsoft.com/office/drawing/2014/main" id="{E92067F6-9A4D-F521-3800-95A3E7C06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083" y="3703903"/>
                <a:ext cx="101068" cy="110500"/>
              </a:xfrm>
              <a:custGeom>
                <a:avLst/>
                <a:gdLst>
                  <a:gd name="T0" fmla="*/ 31 w 42"/>
                  <a:gd name="T1" fmla="*/ 46 h 46"/>
                  <a:gd name="T2" fmla="*/ 35 w 42"/>
                  <a:gd name="T3" fmla="*/ 26 h 46"/>
                  <a:gd name="T4" fmla="*/ 0 w 42"/>
                  <a:gd name="T5" fmla="*/ 7 h 46"/>
                  <a:gd name="T6" fmla="*/ 31 w 42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6">
                    <a:moveTo>
                      <a:pt x="31" y="46"/>
                    </a:moveTo>
                    <a:cubicBezTo>
                      <a:pt x="38" y="39"/>
                      <a:pt x="42" y="31"/>
                      <a:pt x="35" y="26"/>
                    </a:cubicBezTo>
                    <a:cubicBezTo>
                      <a:pt x="24" y="18"/>
                      <a:pt x="19" y="0"/>
                      <a:pt x="0" y="7"/>
                    </a:cubicBezTo>
                    <a:cubicBezTo>
                      <a:pt x="19" y="13"/>
                      <a:pt x="21" y="33"/>
                      <a:pt x="31" y="4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49">
                <a:extLst>
                  <a:ext uri="{FF2B5EF4-FFF2-40B4-BE49-F238E27FC236}">
                    <a16:creationId xmlns:a16="http://schemas.microsoft.com/office/drawing/2014/main" id="{AE7850BB-B8ED-B2EB-6D9D-4A04F016A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083" y="372142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50">
                <a:extLst>
                  <a:ext uri="{FF2B5EF4-FFF2-40B4-BE49-F238E27FC236}">
                    <a16:creationId xmlns:a16="http://schemas.microsoft.com/office/drawing/2014/main" id="{6443CCCA-16D7-1BBD-36F7-5E1081C44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7789" y="1597661"/>
                <a:ext cx="79507" cy="56597"/>
              </a:xfrm>
              <a:custGeom>
                <a:avLst/>
                <a:gdLst>
                  <a:gd name="T0" fmla="*/ 27 w 33"/>
                  <a:gd name="T1" fmla="*/ 20 h 24"/>
                  <a:gd name="T2" fmla="*/ 32 w 33"/>
                  <a:gd name="T3" fmla="*/ 15 h 24"/>
                  <a:gd name="T4" fmla="*/ 30 w 33"/>
                  <a:gd name="T5" fmla="*/ 9 h 24"/>
                  <a:gd name="T6" fmla="*/ 0 w 33"/>
                  <a:gd name="T7" fmla="*/ 3 h 24"/>
                  <a:gd name="T8" fmla="*/ 27 w 33"/>
                  <a:gd name="T9" fmla="*/ 2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4">
                    <a:moveTo>
                      <a:pt x="27" y="20"/>
                    </a:moveTo>
                    <a:cubicBezTo>
                      <a:pt x="30" y="19"/>
                      <a:pt x="32" y="19"/>
                      <a:pt x="32" y="15"/>
                    </a:cubicBezTo>
                    <a:cubicBezTo>
                      <a:pt x="33" y="12"/>
                      <a:pt x="32" y="8"/>
                      <a:pt x="30" y="9"/>
                    </a:cubicBezTo>
                    <a:cubicBezTo>
                      <a:pt x="19" y="12"/>
                      <a:pt x="11" y="0"/>
                      <a:pt x="0" y="3"/>
                    </a:cubicBezTo>
                    <a:cubicBezTo>
                      <a:pt x="7" y="21"/>
                      <a:pt x="12" y="24"/>
                      <a:pt x="27" y="2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51">
                <a:extLst>
                  <a:ext uri="{FF2B5EF4-FFF2-40B4-BE49-F238E27FC236}">
                    <a16:creationId xmlns:a16="http://schemas.microsoft.com/office/drawing/2014/main" id="{DF7A664E-B646-DE43-703D-223940E54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9053" y="1776886"/>
                <a:ext cx="106458" cy="43122"/>
              </a:xfrm>
              <a:custGeom>
                <a:avLst/>
                <a:gdLst>
                  <a:gd name="T0" fmla="*/ 45 w 45"/>
                  <a:gd name="T1" fmla="*/ 7 h 18"/>
                  <a:gd name="T2" fmla="*/ 3 w 45"/>
                  <a:gd name="T3" fmla="*/ 0 h 18"/>
                  <a:gd name="T4" fmla="*/ 0 w 45"/>
                  <a:gd name="T5" fmla="*/ 2 h 18"/>
                  <a:gd name="T6" fmla="*/ 2 w 45"/>
                  <a:gd name="T7" fmla="*/ 7 h 18"/>
                  <a:gd name="T8" fmla="*/ 45 w 45"/>
                  <a:gd name="T9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18">
                    <a:moveTo>
                      <a:pt x="45" y="7"/>
                    </a:moveTo>
                    <a:cubicBezTo>
                      <a:pt x="30" y="1"/>
                      <a:pt x="15" y="10"/>
                      <a:pt x="3" y="0"/>
                    </a:cubicBezTo>
                    <a:cubicBezTo>
                      <a:pt x="3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2" y="7"/>
                    </a:cubicBezTo>
                    <a:cubicBezTo>
                      <a:pt x="12" y="17"/>
                      <a:pt x="30" y="18"/>
                      <a:pt x="45" y="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52">
                <a:extLst>
                  <a:ext uri="{FF2B5EF4-FFF2-40B4-BE49-F238E27FC236}">
                    <a16:creationId xmlns:a16="http://schemas.microsoft.com/office/drawing/2014/main" id="{CADDD022-627A-DBD8-DAD9-BB298AC78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216" y="1767454"/>
                <a:ext cx="74116" cy="52554"/>
              </a:xfrm>
              <a:custGeom>
                <a:avLst/>
                <a:gdLst>
                  <a:gd name="T0" fmla="*/ 16 w 31"/>
                  <a:gd name="T1" fmla="*/ 2 h 22"/>
                  <a:gd name="T2" fmla="*/ 1 w 31"/>
                  <a:gd name="T3" fmla="*/ 10 h 22"/>
                  <a:gd name="T4" fmla="*/ 13 w 31"/>
                  <a:gd name="T5" fmla="*/ 15 h 22"/>
                  <a:gd name="T6" fmla="*/ 22 w 31"/>
                  <a:gd name="T7" fmla="*/ 19 h 22"/>
                  <a:gd name="T8" fmla="*/ 30 w 31"/>
                  <a:gd name="T9" fmla="*/ 10 h 22"/>
                  <a:gd name="T10" fmla="*/ 16 w 31"/>
                  <a:gd name="T11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2">
                    <a:moveTo>
                      <a:pt x="16" y="2"/>
                    </a:moveTo>
                    <a:cubicBezTo>
                      <a:pt x="11" y="4"/>
                      <a:pt x="1" y="0"/>
                      <a:pt x="1" y="10"/>
                    </a:cubicBezTo>
                    <a:cubicBezTo>
                      <a:pt x="0" y="19"/>
                      <a:pt x="9" y="13"/>
                      <a:pt x="13" y="15"/>
                    </a:cubicBezTo>
                    <a:cubicBezTo>
                      <a:pt x="16" y="17"/>
                      <a:pt x="19" y="18"/>
                      <a:pt x="22" y="19"/>
                    </a:cubicBezTo>
                    <a:cubicBezTo>
                      <a:pt x="31" y="22"/>
                      <a:pt x="31" y="16"/>
                      <a:pt x="30" y="10"/>
                    </a:cubicBezTo>
                    <a:cubicBezTo>
                      <a:pt x="29" y="2"/>
                      <a:pt x="22" y="3"/>
                      <a:pt x="16" y="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53">
                <a:extLst>
                  <a:ext uri="{FF2B5EF4-FFF2-40B4-BE49-F238E27FC236}">
                    <a16:creationId xmlns:a16="http://schemas.microsoft.com/office/drawing/2014/main" id="{B6289BD0-F406-9BBD-B7AC-BDCBCB750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3693" y="2089521"/>
                <a:ext cx="57946" cy="44469"/>
              </a:xfrm>
              <a:custGeom>
                <a:avLst/>
                <a:gdLst>
                  <a:gd name="T0" fmla="*/ 12 w 24"/>
                  <a:gd name="T1" fmla="*/ 18 h 19"/>
                  <a:gd name="T2" fmla="*/ 23 w 24"/>
                  <a:gd name="T3" fmla="*/ 9 h 19"/>
                  <a:gd name="T4" fmla="*/ 11 w 24"/>
                  <a:gd name="T5" fmla="*/ 0 h 19"/>
                  <a:gd name="T6" fmla="*/ 0 w 24"/>
                  <a:gd name="T7" fmla="*/ 11 h 19"/>
                  <a:gd name="T8" fmla="*/ 12 w 24"/>
                  <a:gd name="T9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9">
                    <a:moveTo>
                      <a:pt x="12" y="18"/>
                    </a:moveTo>
                    <a:cubicBezTo>
                      <a:pt x="19" y="19"/>
                      <a:pt x="24" y="17"/>
                      <a:pt x="23" y="9"/>
                    </a:cubicBezTo>
                    <a:cubicBezTo>
                      <a:pt x="23" y="3"/>
                      <a:pt x="18" y="0"/>
                      <a:pt x="11" y="0"/>
                    </a:cubicBezTo>
                    <a:cubicBezTo>
                      <a:pt x="3" y="0"/>
                      <a:pt x="0" y="4"/>
                      <a:pt x="0" y="11"/>
                    </a:cubicBezTo>
                    <a:cubicBezTo>
                      <a:pt x="0" y="19"/>
                      <a:pt x="6" y="18"/>
                      <a:pt x="12" y="1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54">
                <a:extLst>
                  <a:ext uri="{FF2B5EF4-FFF2-40B4-BE49-F238E27FC236}">
                    <a16:creationId xmlns:a16="http://schemas.microsoft.com/office/drawing/2014/main" id="{0F316C77-D08B-3D63-C79E-4E087EFC3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58513" y="1960155"/>
                <a:ext cx="90287" cy="28299"/>
              </a:xfrm>
              <a:custGeom>
                <a:avLst/>
                <a:gdLst>
                  <a:gd name="T0" fmla="*/ 27 w 38"/>
                  <a:gd name="T1" fmla="*/ 12 h 12"/>
                  <a:gd name="T2" fmla="*/ 38 w 38"/>
                  <a:gd name="T3" fmla="*/ 6 h 12"/>
                  <a:gd name="T4" fmla="*/ 26 w 38"/>
                  <a:gd name="T5" fmla="*/ 0 h 12"/>
                  <a:gd name="T6" fmla="*/ 0 w 38"/>
                  <a:gd name="T7" fmla="*/ 12 h 12"/>
                  <a:gd name="T8" fmla="*/ 27 w 38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2">
                    <a:moveTo>
                      <a:pt x="27" y="12"/>
                    </a:moveTo>
                    <a:cubicBezTo>
                      <a:pt x="31" y="12"/>
                      <a:pt x="38" y="11"/>
                      <a:pt x="38" y="6"/>
                    </a:cubicBezTo>
                    <a:cubicBezTo>
                      <a:pt x="38" y="1"/>
                      <a:pt x="31" y="1"/>
                      <a:pt x="26" y="0"/>
                    </a:cubicBezTo>
                    <a:cubicBezTo>
                      <a:pt x="18" y="0"/>
                      <a:pt x="10" y="3"/>
                      <a:pt x="0" y="12"/>
                    </a:cubicBezTo>
                    <a:cubicBezTo>
                      <a:pt x="12" y="12"/>
                      <a:pt x="19" y="12"/>
                      <a:pt x="27" y="1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55">
                <a:extLst>
                  <a:ext uri="{FF2B5EF4-FFF2-40B4-BE49-F238E27FC236}">
                    <a16:creationId xmlns:a16="http://schemas.microsoft.com/office/drawing/2014/main" id="{7FD7D3FD-C1EC-0AD2-8BD0-4FE32430E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423" y="1635393"/>
                <a:ext cx="64683" cy="45817"/>
              </a:xfrm>
              <a:custGeom>
                <a:avLst/>
                <a:gdLst>
                  <a:gd name="T0" fmla="*/ 18 w 27"/>
                  <a:gd name="T1" fmla="*/ 4 h 19"/>
                  <a:gd name="T2" fmla="*/ 0 w 27"/>
                  <a:gd name="T3" fmla="*/ 12 h 19"/>
                  <a:gd name="T4" fmla="*/ 13 w 27"/>
                  <a:gd name="T5" fmla="*/ 19 h 19"/>
                  <a:gd name="T6" fmla="*/ 27 w 27"/>
                  <a:gd name="T7" fmla="*/ 8 h 19"/>
                  <a:gd name="T8" fmla="*/ 18 w 27"/>
                  <a:gd name="T9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9">
                    <a:moveTo>
                      <a:pt x="18" y="4"/>
                    </a:moveTo>
                    <a:cubicBezTo>
                      <a:pt x="11" y="4"/>
                      <a:pt x="1" y="2"/>
                      <a:pt x="0" y="12"/>
                    </a:cubicBezTo>
                    <a:cubicBezTo>
                      <a:pt x="0" y="17"/>
                      <a:pt x="7" y="19"/>
                      <a:pt x="13" y="19"/>
                    </a:cubicBezTo>
                    <a:cubicBezTo>
                      <a:pt x="21" y="19"/>
                      <a:pt x="27" y="16"/>
                      <a:pt x="27" y="8"/>
                    </a:cubicBezTo>
                    <a:cubicBezTo>
                      <a:pt x="27" y="0"/>
                      <a:pt x="21" y="6"/>
                      <a:pt x="18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56">
                <a:extLst>
                  <a:ext uri="{FF2B5EF4-FFF2-40B4-BE49-F238E27FC236}">
                    <a16:creationId xmlns:a16="http://schemas.microsoft.com/office/drawing/2014/main" id="{4398D162-CBF1-B5F6-7AF0-E36D7DD9B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083" y="3778019"/>
                <a:ext cx="52555" cy="64683"/>
              </a:xfrm>
              <a:custGeom>
                <a:avLst/>
                <a:gdLst>
                  <a:gd name="T0" fmla="*/ 10 w 22"/>
                  <a:gd name="T1" fmla="*/ 25 h 27"/>
                  <a:gd name="T2" fmla="*/ 15 w 22"/>
                  <a:gd name="T3" fmla="*/ 25 h 27"/>
                  <a:gd name="T4" fmla="*/ 22 w 22"/>
                  <a:gd name="T5" fmla="*/ 15 h 27"/>
                  <a:gd name="T6" fmla="*/ 14 w 22"/>
                  <a:gd name="T7" fmla="*/ 4 h 27"/>
                  <a:gd name="T8" fmla="*/ 3 w 22"/>
                  <a:gd name="T9" fmla="*/ 0 h 27"/>
                  <a:gd name="T10" fmla="*/ 0 w 22"/>
                  <a:gd name="T11" fmla="*/ 5 h 27"/>
                  <a:gd name="T12" fmla="*/ 8 w 22"/>
                  <a:gd name="T13" fmla="*/ 11 h 27"/>
                  <a:gd name="T14" fmla="*/ 11 w 22"/>
                  <a:gd name="T15" fmla="*/ 16 h 27"/>
                  <a:gd name="T16" fmla="*/ 10 w 22"/>
                  <a:gd name="T17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7">
                    <a:moveTo>
                      <a:pt x="10" y="25"/>
                    </a:moveTo>
                    <a:cubicBezTo>
                      <a:pt x="11" y="26"/>
                      <a:pt x="13" y="27"/>
                      <a:pt x="15" y="25"/>
                    </a:cubicBezTo>
                    <a:cubicBezTo>
                      <a:pt x="17" y="22"/>
                      <a:pt x="20" y="18"/>
                      <a:pt x="22" y="15"/>
                    </a:cubicBezTo>
                    <a:cubicBezTo>
                      <a:pt x="19" y="11"/>
                      <a:pt x="17" y="7"/>
                      <a:pt x="14" y="4"/>
                    </a:cubicBezTo>
                    <a:cubicBezTo>
                      <a:pt x="11" y="0"/>
                      <a:pt x="8" y="0"/>
                      <a:pt x="3" y="0"/>
                    </a:cubicBezTo>
                    <a:cubicBezTo>
                      <a:pt x="0" y="0"/>
                      <a:pt x="0" y="3"/>
                      <a:pt x="0" y="5"/>
                    </a:cubicBezTo>
                    <a:cubicBezTo>
                      <a:pt x="0" y="11"/>
                      <a:pt x="3" y="12"/>
                      <a:pt x="8" y="11"/>
                    </a:cubicBezTo>
                    <a:cubicBezTo>
                      <a:pt x="12" y="10"/>
                      <a:pt x="12" y="13"/>
                      <a:pt x="11" y="16"/>
                    </a:cubicBezTo>
                    <a:cubicBezTo>
                      <a:pt x="9" y="19"/>
                      <a:pt x="4" y="21"/>
                      <a:pt x="10" y="2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57">
                <a:extLst>
                  <a:ext uri="{FF2B5EF4-FFF2-40B4-BE49-F238E27FC236}">
                    <a16:creationId xmlns:a16="http://schemas.microsoft.com/office/drawing/2014/main" id="{FF57B076-F2D9-AE9E-F386-2675868874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2377" y="1476379"/>
                <a:ext cx="97025" cy="66030"/>
              </a:xfrm>
              <a:custGeom>
                <a:avLst/>
                <a:gdLst>
                  <a:gd name="T0" fmla="*/ 41 w 41"/>
                  <a:gd name="T1" fmla="*/ 8 h 28"/>
                  <a:gd name="T2" fmla="*/ 0 w 41"/>
                  <a:gd name="T3" fmla="*/ 20 h 28"/>
                  <a:gd name="T4" fmla="*/ 41 w 41"/>
                  <a:gd name="T5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1" h="28">
                    <a:moveTo>
                      <a:pt x="41" y="8"/>
                    </a:moveTo>
                    <a:cubicBezTo>
                      <a:pt x="25" y="0"/>
                      <a:pt x="16" y="16"/>
                      <a:pt x="0" y="20"/>
                    </a:cubicBezTo>
                    <a:cubicBezTo>
                      <a:pt x="20" y="28"/>
                      <a:pt x="28" y="9"/>
                      <a:pt x="41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58">
                <a:extLst>
                  <a:ext uri="{FF2B5EF4-FFF2-40B4-BE49-F238E27FC236}">
                    <a16:creationId xmlns:a16="http://schemas.microsoft.com/office/drawing/2014/main" id="{898A508B-EAD4-AB8A-4CFA-004DF1E66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7479" y="3210695"/>
                <a:ext cx="52555" cy="75464"/>
              </a:xfrm>
              <a:custGeom>
                <a:avLst/>
                <a:gdLst>
                  <a:gd name="T0" fmla="*/ 0 w 22"/>
                  <a:gd name="T1" fmla="*/ 12 h 32"/>
                  <a:gd name="T2" fmla="*/ 8 w 22"/>
                  <a:gd name="T3" fmla="*/ 19 h 32"/>
                  <a:gd name="T4" fmla="*/ 9 w 22"/>
                  <a:gd name="T5" fmla="*/ 30 h 32"/>
                  <a:gd name="T6" fmla="*/ 19 w 22"/>
                  <a:gd name="T7" fmla="*/ 21 h 32"/>
                  <a:gd name="T8" fmla="*/ 15 w 22"/>
                  <a:gd name="T9" fmla="*/ 7 h 32"/>
                  <a:gd name="T10" fmla="*/ 0 w 22"/>
                  <a:gd name="T11" fmla="*/ 1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32">
                    <a:moveTo>
                      <a:pt x="0" y="12"/>
                    </a:moveTo>
                    <a:cubicBezTo>
                      <a:pt x="6" y="11"/>
                      <a:pt x="9" y="12"/>
                      <a:pt x="8" y="19"/>
                    </a:cubicBezTo>
                    <a:cubicBezTo>
                      <a:pt x="7" y="23"/>
                      <a:pt x="3" y="28"/>
                      <a:pt x="9" y="30"/>
                    </a:cubicBezTo>
                    <a:cubicBezTo>
                      <a:pt x="16" y="32"/>
                      <a:pt x="17" y="25"/>
                      <a:pt x="19" y="21"/>
                    </a:cubicBezTo>
                    <a:cubicBezTo>
                      <a:pt x="22" y="16"/>
                      <a:pt x="20" y="11"/>
                      <a:pt x="15" y="7"/>
                    </a:cubicBezTo>
                    <a:cubicBezTo>
                      <a:pt x="7" y="0"/>
                      <a:pt x="4" y="7"/>
                      <a:pt x="0" y="1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59">
                <a:extLst>
                  <a:ext uri="{FF2B5EF4-FFF2-40B4-BE49-F238E27FC236}">
                    <a16:creationId xmlns:a16="http://schemas.microsoft.com/office/drawing/2014/main" id="{C362C155-0B58-5DBE-4471-4C570F68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7046" y="3446518"/>
                <a:ext cx="43122" cy="68725"/>
              </a:xfrm>
              <a:custGeom>
                <a:avLst/>
                <a:gdLst>
                  <a:gd name="T0" fmla="*/ 5 w 18"/>
                  <a:gd name="T1" fmla="*/ 28 h 29"/>
                  <a:gd name="T2" fmla="*/ 18 w 18"/>
                  <a:gd name="T3" fmla="*/ 4 h 29"/>
                  <a:gd name="T4" fmla="*/ 11 w 18"/>
                  <a:gd name="T5" fmla="*/ 1 h 29"/>
                  <a:gd name="T6" fmla="*/ 0 w 18"/>
                  <a:gd name="T7" fmla="*/ 19 h 29"/>
                  <a:gd name="T8" fmla="*/ 5 w 18"/>
                  <a:gd name="T9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9">
                    <a:moveTo>
                      <a:pt x="5" y="28"/>
                    </a:moveTo>
                    <a:cubicBezTo>
                      <a:pt x="14" y="23"/>
                      <a:pt x="14" y="13"/>
                      <a:pt x="18" y="4"/>
                    </a:cubicBezTo>
                    <a:cubicBezTo>
                      <a:pt x="18" y="0"/>
                      <a:pt x="14" y="0"/>
                      <a:pt x="11" y="1"/>
                    </a:cubicBezTo>
                    <a:cubicBezTo>
                      <a:pt x="4" y="4"/>
                      <a:pt x="0" y="11"/>
                      <a:pt x="0" y="19"/>
                    </a:cubicBezTo>
                    <a:cubicBezTo>
                      <a:pt x="0" y="23"/>
                      <a:pt x="3" y="29"/>
                      <a:pt x="5" y="2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60">
                <a:extLst>
                  <a:ext uri="{FF2B5EF4-FFF2-40B4-BE49-F238E27FC236}">
                    <a16:creationId xmlns:a16="http://schemas.microsoft.com/office/drawing/2014/main" id="{73173560-048B-35A3-AD66-18B293D17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7560" y="1851002"/>
                <a:ext cx="74116" cy="40426"/>
              </a:xfrm>
              <a:custGeom>
                <a:avLst/>
                <a:gdLst>
                  <a:gd name="T0" fmla="*/ 23 w 31"/>
                  <a:gd name="T1" fmla="*/ 4 h 17"/>
                  <a:gd name="T2" fmla="*/ 0 w 31"/>
                  <a:gd name="T3" fmla="*/ 8 h 17"/>
                  <a:gd name="T4" fmla="*/ 19 w 31"/>
                  <a:gd name="T5" fmla="*/ 15 h 17"/>
                  <a:gd name="T6" fmla="*/ 30 w 31"/>
                  <a:gd name="T7" fmla="*/ 11 h 17"/>
                  <a:gd name="T8" fmla="*/ 23 w 31"/>
                  <a:gd name="T9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3" y="4"/>
                    </a:moveTo>
                    <a:cubicBezTo>
                      <a:pt x="15" y="0"/>
                      <a:pt x="8" y="1"/>
                      <a:pt x="0" y="8"/>
                    </a:cubicBezTo>
                    <a:cubicBezTo>
                      <a:pt x="7" y="10"/>
                      <a:pt x="13" y="13"/>
                      <a:pt x="19" y="15"/>
                    </a:cubicBezTo>
                    <a:cubicBezTo>
                      <a:pt x="23" y="16"/>
                      <a:pt x="29" y="17"/>
                      <a:pt x="30" y="11"/>
                    </a:cubicBezTo>
                    <a:cubicBezTo>
                      <a:pt x="31" y="8"/>
                      <a:pt x="27" y="6"/>
                      <a:pt x="23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61">
                <a:extLst>
                  <a:ext uri="{FF2B5EF4-FFF2-40B4-BE49-F238E27FC236}">
                    <a16:creationId xmlns:a16="http://schemas.microsoft.com/office/drawing/2014/main" id="{719EFA10-0269-9BC7-4A3F-00F444699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363" y="3081329"/>
                <a:ext cx="72768" cy="59293"/>
              </a:xfrm>
              <a:custGeom>
                <a:avLst/>
                <a:gdLst>
                  <a:gd name="T0" fmla="*/ 24 w 31"/>
                  <a:gd name="T1" fmla="*/ 5 h 25"/>
                  <a:gd name="T2" fmla="*/ 4 w 31"/>
                  <a:gd name="T3" fmla="*/ 7 h 25"/>
                  <a:gd name="T4" fmla="*/ 15 w 31"/>
                  <a:gd name="T5" fmla="*/ 17 h 25"/>
                  <a:gd name="T6" fmla="*/ 26 w 31"/>
                  <a:gd name="T7" fmla="*/ 25 h 25"/>
                  <a:gd name="T8" fmla="*/ 24 w 31"/>
                  <a:gd name="T9" fmla="*/ 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5">
                    <a:moveTo>
                      <a:pt x="24" y="5"/>
                    </a:moveTo>
                    <a:cubicBezTo>
                      <a:pt x="18" y="3"/>
                      <a:pt x="7" y="0"/>
                      <a:pt x="4" y="7"/>
                    </a:cubicBezTo>
                    <a:cubicBezTo>
                      <a:pt x="0" y="14"/>
                      <a:pt x="10" y="15"/>
                      <a:pt x="15" y="17"/>
                    </a:cubicBezTo>
                    <a:cubicBezTo>
                      <a:pt x="18" y="18"/>
                      <a:pt x="20" y="20"/>
                      <a:pt x="26" y="25"/>
                    </a:cubicBezTo>
                    <a:cubicBezTo>
                      <a:pt x="23" y="16"/>
                      <a:pt x="31" y="8"/>
                      <a:pt x="24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62">
                <a:extLst>
                  <a:ext uri="{FF2B5EF4-FFF2-40B4-BE49-F238E27FC236}">
                    <a16:creationId xmlns:a16="http://schemas.microsoft.com/office/drawing/2014/main" id="{38AF6F82-5B6E-E0D7-4F99-0EDC0DEFFB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144" y="3570494"/>
                <a:ext cx="57946" cy="45817"/>
              </a:xfrm>
              <a:custGeom>
                <a:avLst/>
                <a:gdLst>
                  <a:gd name="T0" fmla="*/ 22 w 24"/>
                  <a:gd name="T1" fmla="*/ 6 h 19"/>
                  <a:gd name="T2" fmla="*/ 14 w 24"/>
                  <a:gd name="T3" fmla="*/ 1 h 19"/>
                  <a:gd name="T4" fmla="*/ 1 w 24"/>
                  <a:gd name="T5" fmla="*/ 10 h 19"/>
                  <a:gd name="T6" fmla="*/ 9 w 24"/>
                  <a:gd name="T7" fmla="*/ 18 h 19"/>
                  <a:gd name="T8" fmla="*/ 22 w 24"/>
                  <a:gd name="T9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9">
                    <a:moveTo>
                      <a:pt x="22" y="6"/>
                    </a:moveTo>
                    <a:cubicBezTo>
                      <a:pt x="24" y="0"/>
                      <a:pt x="17" y="4"/>
                      <a:pt x="14" y="1"/>
                    </a:cubicBezTo>
                    <a:cubicBezTo>
                      <a:pt x="9" y="3"/>
                      <a:pt x="2" y="2"/>
                      <a:pt x="1" y="10"/>
                    </a:cubicBezTo>
                    <a:cubicBezTo>
                      <a:pt x="0" y="15"/>
                      <a:pt x="3" y="18"/>
                      <a:pt x="9" y="18"/>
                    </a:cubicBezTo>
                    <a:cubicBezTo>
                      <a:pt x="17" y="19"/>
                      <a:pt x="19" y="11"/>
                      <a:pt x="22" y="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63">
                <a:extLst>
                  <a:ext uri="{FF2B5EF4-FFF2-40B4-BE49-F238E27FC236}">
                    <a16:creationId xmlns:a16="http://schemas.microsoft.com/office/drawing/2014/main" id="{F08618F1-307E-DB80-CCF7-548DEDF7A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8908" y="1457514"/>
                <a:ext cx="74116" cy="47164"/>
              </a:xfrm>
              <a:custGeom>
                <a:avLst/>
                <a:gdLst>
                  <a:gd name="T0" fmla="*/ 31 w 31"/>
                  <a:gd name="T1" fmla="*/ 16 h 20"/>
                  <a:gd name="T2" fmla="*/ 0 w 31"/>
                  <a:gd name="T3" fmla="*/ 19 h 20"/>
                  <a:gd name="T4" fmla="*/ 31 w 31"/>
                  <a:gd name="T5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20">
                    <a:moveTo>
                      <a:pt x="31" y="16"/>
                    </a:moveTo>
                    <a:cubicBezTo>
                      <a:pt x="21" y="11"/>
                      <a:pt x="9" y="0"/>
                      <a:pt x="0" y="19"/>
                    </a:cubicBezTo>
                    <a:cubicBezTo>
                      <a:pt x="11" y="19"/>
                      <a:pt x="21" y="20"/>
                      <a:pt x="31" y="1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64">
                <a:extLst>
                  <a:ext uri="{FF2B5EF4-FFF2-40B4-BE49-F238E27FC236}">
                    <a16:creationId xmlns:a16="http://schemas.microsoft.com/office/drawing/2014/main" id="{17FFD071-60A1-40A2-72D7-620EC76DAC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0189" y="1483117"/>
                <a:ext cx="68726" cy="36383"/>
              </a:xfrm>
              <a:custGeom>
                <a:avLst/>
                <a:gdLst>
                  <a:gd name="T0" fmla="*/ 14 w 29"/>
                  <a:gd name="T1" fmla="*/ 14 h 15"/>
                  <a:gd name="T2" fmla="*/ 29 w 29"/>
                  <a:gd name="T3" fmla="*/ 6 h 15"/>
                  <a:gd name="T4" fmla="*/ 13 w 29"/>
                  <a:gd name="T5" fmla="*/ 1 h 15"/>
                  <a:gd name="T6" fmla="*/ 1 w 29"/>
                  <a:gd name="T7" fmla="*/ 10 h 15"/>
                  <a:gd name="T8" fmla="*/ 14 w 29"/>
                  <a:gd name="T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14" y="14"/>
                    </a:moveTo>
                    <a:cubicBezTo>
                      <a:pt x="20" y="13"/>
                      <a:pt x="23" y="9"/>
                      <a:pt x="29" y="6"/>
                    </a:cubicBezTo>
                    <a:cubicBezTo>
                      <a:pt x="23" y="1"/>
                      <a:pt x="17" y="0"/>
                      <a:pt x="13" y="1"/>
                    </a:cubicBezTo>
                    <a:cubicBezTo>
                      <a:pt x="7" y="1"/>
                      <a:pt x="0" y="5"/>
                      <a:pt x="1" y="10"/>
                    </a:cubicBezTo>
                    <a:cubicBezTo>
                      <a:pt x="2" y="15"/>
                      <a:pt x="9" y="14"/>
                      <a:pt x="14" y="1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65">
                <a:extLst>
                  <a:ext uri="{FF2B5EF4-FFF2-40B4-BE49-F238E27FC236}">
                    <a16:creationId xmlns:a16="http://schemas.microsoft.com/office/drawing/2014/main" id="{D47A2E30-258D-E578-2B0C-129B275DF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5252" y="3012604"/>
                <a:ext cx="43122" cy="56597"/>
              </a:xfrm>
              <a:custGeom>
                <a:avLst/>
                <a:gdLst>
                  <a:gd name="T0" fmla="*/ 9 w 18"/>
                  <a:gd name="T1" fmla="*/ 23 h 24"/>
                  <a:gd name="T2" fmla="*/ 18 w 18"/>
                  <a:gd name="T3" fmla="*/ 11 h 24"/>
                  <a:gd name="T4" fmla="*/ 11 w 18"/>
                  <a:gd name="T5" fmla="*/ 1 h 24"/>
                  <a:gd name="T6" fmla="*/ 6 w 18"/>
                  <a:gd name="T7" fmla="*/ 13 h 24"/>
                  <a:gd name="T8" fmla="*/ 9 w 18"/>
                  <a:gd name="T9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4">
                    <a:moveTo>
                      <a:pt x="9" y="23"/>
                    </a:moveTo>
                    <a:cubicBezTo>
                      <a:pt x="15" y="23"/>
                      <a:pt x="18" y="18"/>
                      <a:pt x="18" y="11"/>
                    </a:cubicBezTo>
                    <a:cubicBezTo>
                      <a:pt x="18" y="6"/>
                      <a:pt x="18" y="0"/>
                      <a:pt x="11" y="1"/>
                    </a:cubicBezTo>
                    <a:cubicBezTo>
                      <a:pt x="5" y="1"/>
                      <a:pt x="0" y="6"/>
                      <a:pt x="6" y="13"/>
                    </a:cubicBezTo>
                    <a:cubicBezTo>
                      <a:pt x="3" y="18"/>
                      <a:pt x="4" y="24"/>
                      <a:pt x="9" y="2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66">
                <a:extLst>
                  <a:ext uri="{FF2B5EF4-FFF2-40B4-BE49-F238E27FC236}">
                    <a16:creationId xmlns:a16="http://schemas.microsoft.com/office/drawing/2014/main" id="{0DB2CFE2-BED5-68F5-D861-A3CE320B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8120" y="3198567"/>
                <a:ext cx="59293" cy="49860"/>
              </a:xfrm>
              <a:custGeom>
                <a:avLst/>
                <a:gdLst>
                  <a:gd name="T0" fmla="*/ 6 w 25"/>
                  <a:gd name="T1" fmla="*/ 19 h 21"/>
                  <a:gd name="T2" fmla="*/ 25 w 25"/>
                  <a:gd name="T3" fmla="*/ 4 h 21"/>
                  <a:gd name="T4" fmla="*/ 3 w 25"/>
                  <a:gd name="T5" fmla="*/ 9 h 21"/>
                  <a:gd name="T6" fmla="*/ 2 w 25"/>
                  <a:gd name="T7" fmla="*/ 17 h 21"/>
                  <a:gd name="T8" fmla="*/ 6 w 25"/>
                  <a:gd name="T9" fmla="*/ 1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1">
                    <a:moveTo>
                      <a:pt x="6" y="19"/>
                    </a:moveTo>
                    <a:cubicBezTo>
                      <a:pt x="11" y="13"/>
                      <a:pt x="24" y="17"/>
                      <a:pt x="25" y="4"/>
                    </a:cubicBezTo>
                    <a:cubicBezTo>
                      <a:pt x="16" y="0"/>
                      <a:pt x="10" y="6"/>
                      <a:pt x="3" y="9"/>
                    </a:cubicBezTo>
                    <a:cubicBezTo>
                      <a:pt x="0" y="11"/>
                      <a:pt x="1" y="14"/>
                      <a:pt x="2" y="17"/>
                    </a:cubicBezTo>
                    <a:cubicBezTo>
                      <a:pt x="2" y="19"/>
                      <a:pt x="5" y="21"/>
                      <a:pt x="6" y="1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67">
                <a:extLst>
                  <a:ext uri="{FF2B5EF4-FFF2-40B4-BE49-F238E27FC236}">
                    <a16:creationId xmlns:a16="http://schemas.microsoft.com/office/drawing/2014/main" id="{261F0982-1D53-41DE-4D9E-62ADDB034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423" y="1604399"/>
                <a:ext cx="83549" cy="33689"/>
              </a:xfrm>
              <a:custGeom>
                <a:avLst/>
                <a:gdLst>
                  <a:gd name="T0" fmla="*/ 25 w 35"/>
                  <a:gd name="T1" fmla="*/ 11 h 14"/>
                  <a:gd name="T2" fmla="*/ 34 w 35"/>
                  <a:gd name="T3" fmla="*/ 8 h 14"/>
                  <a:gd name="T4" fmla="*/ 24 w 35"/>
                  <a:gd name="T5" fmla="*/ 1 h 14"/>
                  <a:gd name="T6" fmla="*/ 0 w 35"/>
                  <a:gd name="T7" fmla="*/ 7 h 14"/>
                  <a:gd name="T8" fmla="*/ 0 w 35"/>
                  <a:gd name="T9" fmla="*/ 11 h 14"/>
                  <a:gd name="T10" fmla="*/ 25 w 35"/>
                  <a:gd name="T11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14">
                    <a:moveTo>
                      <a:pt x="25" y="11"/>
                    </a:moveTo>
                    <a:cubicBezTo>
                      <a:pt x="28" y="11"/>
                      <a:pt x="35" y="14"/>
                      <a:pt x="34" y="8"/>
                    </a:cubicBezTo>
                    <a:cubicBezTo>
                      <a:pt x="34" y="3"/>
                      <a:pt x="29" y="0"/>
                      <a:pt x="24" y="1"/>
                    </a:cubicBezTo>
                    <a:cubicBezTo>
                      <a:pt x="16" y="3"/>
                      <a:pt x="8" y="5"/>
                      <a:pt x="0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9" y="11"/>
                      <a:pt x="17" y="11"/>
                      <a:pt x="25" y="1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68">
                <a:extLst>
                  <a:ext uri="{FF2B5EF4-FFF2-40B4-BE49-F238E27FC236}">
                    <a16:creationId xmlns:a16="http://schemas.microsoft.com/office/drawing/2014/main" id="{C67C5D35-221D-3178-8D35-7FC7EAAE9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2597" y="1508721"/>
                <a:ext cx="84897" cy="33689"/>
              </a:xfrm>
              <a:custGeom>
                <a:avLst/>
                <a:gdLst>
                  <a:gd name="T0" fmla="*/ 36 w 36"/>
                  <a:gd name="T1" fmla="*/ 4 h 14"/>
                  <a:gd name="T2" fmla="*/ 0 w 36"/>
                  <a:gd name="T3" fmla="*/ 10 h 14"/>
                  <a:gd name="T4" fmla="*/ 36 w 36"/>
                  <a:gd name="T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14">
                    <a:moveTo>
                      <a:pt x="36" y="4"/>
                    </a:moveTo>
                    <a:cubicBezTo>
                      <a:pt x="22" y="2"/>
                      <a:pt x="11" y="0"/>
                      <a:pt x="0" y="10"/>
                    </a:cubicBezTo>
                    <a:cubicBezTo>
                      <a:pt x="14" y="14"/>
                      <a:pt x="23" y="9"/>
                      <a:pt x="36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69">
                <a:extLst>
                  <a:ext uri="{FF2B5EF4-FFF2-40B4-BE49-F238E27FC236}">
                    <a16:creationId xmlns:a16="http://schemas.microsoft.com/office/drawing/2014/main" id="{D649C7FC-DCE3-1668-F8FF-90F85AB5A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24144" y="4013843"/>
                <a:ext cx="32342" cy="48512"/>
              </a:xfrm>
              <a:custGeom>
                <a:avLst/>
                <a:gdLst>
                  <a:gd name="T0" fmla="*/ 5 w 14"/>
                  <a:gd name="T1" fmla="*/ 0 h 20"/>
                  <a:gd name="T2" fmla="*/ 1 w 14"/>
                  <a:gd name="T3" fmla="*/ 10 h 20"/>
                  <a:gd name="T4" fmla="*/ 7 w 14"/>
                  <a:gd name="T5" fmla="*/ 20 h 20"/>
                  <a:gd name="T6" fmla="*/ 14 w 14"/>
                  <a:gd name="T7" fmla="*/ 11 h 20"/>
                  <a:gd name="T8" fmla="*/ 5 w 1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0">
                    <a:moveTo>
                      <a:pt x="5" y="0"/>
                    </a:moveTo>
                    <a:cubicBezTo>
                      <a:pt x="0" y="0"/>
                      <a:pt x="2" y="6"/>
                      <a:pt x="1" y="10"/>
                    </a:cubicBezTo>
                    <a:cubicBezTo>
                      <a:pt x="1" y="15"/>
                      <a:pt x="2" y="20"/>
                      <a:pt x="7" y="20"/>
                    </a:cubicBezTo>
                    <a:cubicBezTo>
                      <a:pt x="11" y="20"/>
                      <a:pt x="14" y="15"/>
                      <a:pt x="14" y="11"/>
                    </a:cubicBezTo>
                    <a:cubicBezTo>
                      <a:pt x="14" y="5"/>
                      <a:pt x="10" y="1"/>
                      <a:pt x="5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70">
                <a:extLst>
                  <a:ext uri="{FF2B5EF4-FFF2-40B4-BE49-F238E27FC236}">
                    <a16:creationId xmlns:a16="http://schemas.microsoft.com/office/drawing/2014/main" id="{49ADBBDE-2AD5-19BC-F40C-6789ED86A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0829" y="4167465"/>
                <a:ext cx="86244" cy="52554"/>
              </a:xfrm>
              <a:custGeom>
                <a:avLst/>
                <a:gdLst>
                  <a:gd name="T0" fmla="*/ 36 w 36"/>
                  <a:gd name="T1" fmla="*/ 0 h 22"/>
                  <a:gd name="T2" fmla="*/ 0 w 36"/>
                  <a:gd name="T3" fmla="*/ 12 h 22"/>
                  <a:gd name="T4" fmla="*/ 36 w 36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2">
                    <a:moveTo>
                      <a:pt x="36" y="0"/>
                    </a:moveTo>
                    <a:cubicBezTo>
                      <a:pt x="28" y="17"/>
                      <a:pt x="12" y="8"/>
                      <a:pt x="0" y="12"/>
                    </a:cubicBezTo>
                    <a:cubicBezTo>
                      <a:pt x="17" y="22"/>
                      <a:pt x="30" y="18"/>
                      <a:pt x="36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71">
                <a:extLst>
                  <a:ext uri="{FF2B5EF4-FFF2-40B4-BE49-F238E27FC236}">
                    <a16:creationId xmlns:a16="http://schemas.microsoft.com/office/drawing/2014/main" id="{A81E1BF9-56EE-E293-D056-C14B6A7DF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8674" y="4242929"/>
                <a:ext cx="64683" cy="43122"/>
              </a:xfrm>
              <a:custGeom>
                <a:avLst/>
                <a:gdLst>
                  <a:gd name="T0" fmla="*/ 1 w 27"/>
                  <a:gd name="T1" fmla="*/ 9 h 18"/>
                  <a:gd name="T2" fmla="*/ 0 w 27"/>
                  <a:gd name="T3" fmla="*/ 13 h 18"/>
                  <a:gd name="T4" fmla="*/ 24 w 27"/>
                  <a:gd name="T5" fmla="*/ 12 h 18"/>
                  <a:gd name="T6" fmla="*/ 27 w 27"/>
                  <a:gd name="T7" fmla="*/ 9 h 18"/>
                  <a:gd name="T8" fmla="*/ 1 w 27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8">
                    <a:moveTo>
                      <a:pt x="1" y="9"/>
                    </a:moveTo>
                    <a:cubicBezTo>
                      <a:pt x="1" y="9"/>
                      <a:pt x="0" y="12"/>
                      <a:pt x="0" y="13"/>
                    </a:cubicBezTo>
                    <a:cubicBezTo>
                      <a:pt x="8" y="18"/>
                      <a:pt x="16" y="15"/>
                      <a:pt x="24" y="12"/>
                    </a:cubicBezTo>
                    <a:cubicBezTo>
                      <a:pt x="24" y="12"/>
                      <a:pt x="25" y="11"/>
                      <a:pt x="27" y="9"/>
                    </a:cubicBezTo>
                    <a:cubicBezTo>
                      <a:pt x="17" y="0"/>
                      <a:pt x="9" y="10"/>
                      <a:pt x="1" y="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72">
                <a:extLst>
                  <a:ext uri="{FF2B5EF4-FFF2-40B4-BE49-F238E27FC236}">
                    <a16:creationId xmlns:a16="http://schemas.microsoft.com/office/drawing/2014/main" id="{5511AFC6-36B3-8709-91FC-2BDFC031E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3412" y="2549041"/>
                <a:ext cx="30994" cy="43122"/>
              </a:xfrm>
              <a:custGeom>
                <a:avLst/>
                <a:gdLst>
                  <a:gd name="T0" fmla="*/ 6 w 13"/>
                  <a:gd name="T1" fmla="*/ 17 h 18"/>
                  <a:gd name="T2" fmla="*/ 12 w 13"/>
                  <a:gd name="T3" fmla="*/ 10 h 18"/>
                  <a:gd name="T4" fmla="*/ 5 w 13"/>
                  <a:gd name="T5" fmla="*/ 1 h 18"/>
                  <a:gd name="T6" fmla="*/ 0 w 13"/>
                  <a:gd name="T7" fmla="*/ 6 h 18"/>
                  <a:gd name="T8" fmla="*/ 6 w 13"/>
                  <a:gd name="T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6" y="17"/>
                    </a:moveTo>
                    <a:cubicBezTo>
                      <a:pt x="11" y="18"/>
                      <a:pt x="11" y="12"/>
                      <a:pt x="12" y="10"/>
                    </a:cubicBezTo>
                    <a:cubicBezTo>
                      <a:pt x="13" y="2"/>
                      <a:pt x="9" y="2"/>
                      <a:pt x="5" y="1"/>
                    </a:cubicBezTo>
                    <a:cubicBezTo>
                      <a:pt x="1" y="0"/>
                      <a:pt x="0" y="2"/>
                      <a:pt x="0" y="6"/>
                    </a:cubicBezTo>
                    <a:cubicBezTo>
                      <a:pt x="0" y="10"/>
                      <a:pt x="1" y="16"/>
                      <a:pt x="6" y="1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73">
                <a:extLst>
                  <a:ext uri="{FF2B5EF4-FFF2-40B4-BE49-F238E27FC236}">
                    <a16:creationId xmlns:a16="http://schemas.microsoft.com/office/drawing/2014/main" id="{85E73E94-B98D-080D-990E-75C17B120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4351" y="4028665"/>
                <a:ext cx="61987" cy="30993"/>
              </a:xfrm>
              <a:custGeom>
                <a:avLst/>
                <a:gdLst>
                  <a:gd name="T0" fmla="*/ 0 w 26"/>
                  <a:gd name="T1" fmla="*/ 13 h 13"/>
                  <a:gd name="T2" fmla="*/ 26 w 26"/>
                  <a:gd name="T3" fmla="*/ 4 h 13"/>
                  <a:gd name="T4" fmla="*/ 0 w 26"/>
                  <a:gd name="T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" h="13">
                    <a:moveTo>
                      <a:pt x="0" y="13"/>
                    </a:moveTo>
                    <a:cubicBezTo>
                      <a:pt x="8" y="6"/>
                      <a:pt x="18" y="11"/>
                      <a:pt x="26" y="4"/>
                    </a:cubicBezTo>
                    <a:cubicBezTo>
                      <a:pt x="5" y="0"/>
                      <a:pt x="2" y="0"/>
                      <a:pt x="0" y="1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74">
                <a:extLst>
                  <a:ext uri="{FF2B5EF4-FFF2-40B4-BE49-F238E27FC236}">
                    <a16:creationId xmlns:a16="http://schemas.microsoft.com/office/drawing/2014/main" id="{1C289EF2-FC64-C5FD-6279-431B7824B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7053" y="4121648"/>
                <a:ext cx="57946" cy="30993"/>
              </a:xfrm>
              <a:custGeom>
                <a:avLst/>
                <a:gdLst>
                  <a:gd name="T0" fmla="*/ 2 w 24"/>
                  <a:gd name="T1" fmla="*/ 5 h 13"/>
                  <a:gd name="T2" fmla="*/ 10 w 24"/>
                  <a:gd name="T3" fmla="*/ 9 h 13"/>
                  <a:gd name="T4" fmla="*/ 24 w 24"/>
                  <a:gd name="T5" fmla="*/ 13 h 13"/>
                  <a:gd name="T6" fmla="*/ 12 w 24"/>
                  <a:gd name="T7" fmla="*/ 2 h 13"/>
                  <a:gd name="T8" fmla="*/ 2 w 24"/>
                  <a:gd name="T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3">
                    <a:moveTo>
                      <a:pt x="2" y="5"/>
                    </a:moveTo>
                    <a:cubicBezTo>
                      <a:pt x="0" y="11"/>
                      <a:pt x="7" y="8"/>
                      <a:pt x="10" y="9"/>
                    </a:cubicBezTo>
                    <a:cubicBezTo>
                      <a:pt x="14" y="10"/>
                      <a:pt x="18" y="11"/>
                      <a:pt x="24" y="13"/>
                    </a:cubicBezTo>
                    <a:cubicBezTo>
                      <a:pt x="22" y="5"/>
                      <a:pt x="17" y="3"/>
                      <a:pt x="12" y="2"/>
                    </a:cubicBezTo>
                    <a:cubicBezTo>
                      <a:pt x="8" y="1"/>
                      <a:pt x="2" y="0"/>
                      <a:pt x="2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75">
                <a:extLst>
                  <a:ext uri="{FF2B5EF4-FFF2-40B4-BE49-F238E27FC236}">
                    <a16:creationId xmlns:a16="http://schemas.microsoft.com/office/drawing/2014/main" id="{CAF59DF6-B1BE-443B-E391-2F3E3818B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342" y="2616420"/>
                <a:ext cx="35036" cy="49860"/>
              </a:xfrm>
              <a:custGeom>
                <a:avLst/>
                <a:gdLst>
                  <a:gd name="T0" fmla="*/ 4 w 15"/>
                  <a:gd name="T1" fmla="*/ 1 h 21"/>
                  <a:gd name="T2" fmla="*/ 2 w 15"/>
                  <a:gd name="T3" fmla="*/ 8 h 21"/>
                  <a:gd name="T4" fmla="*/ 15 w 15"/>
                  <a:gd name="T5" fmla="*/ 21 h 21"/>
                  <a:gd name="T6" fmla="*/ 12 w 15"/>
                  <a:gd name="T7" fmla="*/ 5 h 21"/>
                  <a:gd name="T8" fmla="*/ 4 w 15"/>
                  <a:gd name="T9" fmla="*/ 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1">
                    <a:moveTo>
                      <a:pt x="4" y="1"/>
                    </a:moveTo>
                    <a:cubicBezTo>
                      <a:pt x="0" y="2"/>
                      <a:pt x="0" y="5"/>
                      <a:pt x="2" y="8"/>
                    </a:cubicBezTo>
                    <a:cubicBezTo>
                      <a:pt x="5" y="14"/>
                      <a:pt x="6" y="20"/>
                      <a:pt x="15" y="21"/>
                    </a:cubicBezTo>
                    <a:cubicBezTo>
                      <a:pt x="14" y="15"/>
                      <a:pt x="13" y="10"/>
                      <a:pt x="12" y="5"/>
                    </a:cubicBezTo>
                    <a:cubicBezTo>
                      <a:pt x="11" y="0"/>
                      <a:pt x="7" y="1"/>
                      <a:pt x="4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76">
                <a:extLst>
                  <a:ext uri="{FF2B5EF4-FFF2-40B4-BE49-F238E27FC236}">
                    <a16:creationId xmlns:a16="http://schemas.microsoft.com/office/drawing/2014/main" id="{8607A060-C219-58A2-191F-AFBD9E802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1243" y="2036967"/>
                <a:ext cx="55251" cy="43122"/>
              </a:xfrm>
              <a:custGeom>
                <a:avLst/>
                <a:gdLst>
                  <a:gd name="T0" fmla="*/ 2 w 23"/>
                  <a:gd name="T1" fmla="*/ 8 h 18"/>
                  <a:gd name="T2" fmla="*/ 5 w 23"/>
                  <a:gd name="T3" fmla="*/ 15 h 18"/>
                  <a:gd name="T4" fmla="*/ 23 w 23"/>
                  <a:gd name="T5" fmla="*/ 5 h 18"/>
                  <a:gd name="T6" fmla="*/ 2 w 23"/>
                  <a:gd name="T7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8">
                    <a:moveTo>
                      <a:pt x="2" y="8"/>
                    </a:moveTo>
                    <a:cubicBezTo>
                      <a:pt x="0" y="10"/>
                      <a:pt x="2" y="14"/>
                      <a:pt x="5" y="15"/>
                    </a:cubicBezTo>
                    <a:cubicBezTo>
                      <a:pt x="13" y="18"/>
                      <a:pt x="17" y="12"/>
                      <a:pt x="23" y="5"/>
                    </a:cubicBezTo>
                    <a:cubicBezTo>
                      <a:pt x="14" y="5"/>
                      <a:pt x="7" y="0"/>
                      <a:pt x="2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77">
                <a:extLst>
                  <a:ext uri="{FF2B5EF4-FFF2-40B4-BE49-F238E27FC236}">
                    <a16:creationId xmlns:a16="http://schemas.microsoft.com/office/drawing/2014/main" id="{1F03CEF4-C9B1-3069-3579-612CDB701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0308" y="4257751"/>
                <a:ext cx="53903" cy="25603"/>
              </a:xfrm>
              <a:custGeom>
                <a:avLst/>
                <a:gdLst>
                  <a:gd name="T0" fmla="*/ 0 w 23"/>
                  <a:gd name="T1" fmla="*/ 5 h 11"/>
                  <a:gd name="T2" fmla="*/ 23 w 23"/>
                  <a:gd name="T3" fmla="*/ 5 h 11"/>
                  <a:gd name="T4" fmla="*/ 0 w 23"/>
                  <a:gd name="T5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0" y="5"/>
                    </a:moveTo>
                    <a:cubicBezTo>
                      <a:pt x="8" y="11"/>
                      <a:pt x="15" y="8"/>
                      <a:pt x="23" y="5"/>
                    </a:cubicBezTo>
                    <a:cubicBezTo>
                      <a:pt x="9" y="0"/>
                      <a:pt x="9" y="0"/>
                      <a:pt x="0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78">
                <a:extLst>
                  <a:ext uri="{FF2B5EF4-FFF2-40B4-BE49-F238E27FC236}">
                    <a16:creationId xmlns:a16="http://schemas.microsoft.com/office/drawing/2014/main" id="{98ABA0B7-E699-CE61-8AB0-158144482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723" y="2301089"/>
                <a:ext cx="43122" cy="36383"/>
              </a:xfrm>
              <a:custGeom>
                <a:avLst/>
                <a:gdLst>
                  <a:gd name="T0" fmla="*/ 0 w 18"/>
                  <a:gd name="T1" fmla="*/ 11 h 15"/>
                  <a:gd name="T2" fmla="*/ 17 w 18"/>
                  <a:gd name="T3" fmla="*/ 6 h 15"/>
                  <a:gd name="T4" fmla="*/ 16 w 18"/>
                  <a:gd name="T5" fmla="*/ 1 h 15"/>
                  <a:gd name="T6" fmla="*/ 0 w 18"/>
                  <a:gd name="T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15">
                    <a:moveTo>
                      <a:pt x="0" y="11"/>
                    </a:moveTo>
                    <a:cubicBezTo>
                      <a:pt x="8" y="15"/>
                      <a:pt x="13" y="11"/>
                      <a:pt x="17" y="6"/>
                    </a:cubicBezTo>
                    <a:cubicBezTo>
                      <a:pt x="18" y="4"/>
                      <a:pt x="18" y="2"/>
                      <a:pt x="16" y="1"/>
                    </a:cubicBezTo>
                    <a:cubicBezTo>
                      <a:pt x="8" y="0"/>
                      <a:pt x="4" y="3"/>
                      <a:pt x="0" y="1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79">
                <a:extLst>
                  <a:ext uri="{FF2B5EF4-FFF2-40B4-BE49-F238E27FC236}">
                    <a16:creationId xmlns:a16="http://schemas.microsoft.com/office/drawing/2014/main" id="{3C3753F5-5D24-D4E6-C266-1EE39C35C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18367" y="4935577"/>
                <a:ext cx="44471" cy="49860"/>
              </a:xfrm>
              <a:custGeom>
                <a:avLst/>
                <a:gdLst>
                  <a:gd name="T0" fmla="*/ 17 w 19"/>
                  <a:gd name="T1" fmla="*/ 21 h 21"/>
                  <a:gd name="T2" fmla="*/ 11 w 19"/>
                  <a:gd name="T3" fmla="*/ 4 h 21"/>
                  <a:gd name="T4" fmla="*/ 3 w 19"/>
                  <a:gd name="T5" fmla="*/ 2 h 21"/>
                  <a:gd name="T6" fmla="*/ 4 w 19"/>
                  <a:gd name="T7" fmla="*/ 9 h 21"/>
                  <a:gd name="T8" fmla="*/ 17 w 19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1">
                    <a:moveTo>
                      <a:pt x="17" y="21"/>
                    </a:moveTo>
                    <a:cubicBezTo>
                      <a:pt x="19" y="14"/>
                      <a:pt x="13" y="9"/>
                      <a:pt x="11" y="4"/>
                    </a:cubicBezTo>
                    <a:cubicBezTo>
                      <a:pt x="9" y="0"/>
                      <a:pt x="6" y="0"/>
                      <a:pt x="3" y="2"/>
                    </a:cubicBezTo>
                    <a:cubicBezTo>
                      <a:pt x="0" y="4"/>
                      <a:pt x="2" y="7"/>
                      <a:pt x="4" y="9"/>
                    </a:cubicBezTo>
                    <a:cubicBezTo>
                      <a:pt x="8" y="13"/>
                      <a:pt x="12" y="17"/>
                      <a:pt x="17" y="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0">
                <a:extLst>
                  <a:ext uri="{FF2B5EF4-FFF2-40B4-BE49-F238E27FC236}">
                    <a16:creationId xmlns:a16="http://schemas.microsoft.com/office/drawing/2014/main" id="{582D147D-C6CE-5385-C6FF-CB449A00E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02421" y="2287614"/>
                <a:ext cx="66032" cy="22908"/>
              </a:xfrm>
              <a:custGeom>
                <a:avLst/>
                <a:gdLst>
                  <a:gd name="T0" fmla="*/ 0 w 28"/>
                  <a:gd name="T1" fmla="*/ 2 h 10"/>
                  <a:gd name="T2" fmla="*/ 28 w 28"/>
                  <a:gd name="T3" fmla="*/ 6 h 10"/>
                  <a:gd name="T4" fmla="*/ 0 w 28"/>
                  <a:gd name="T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0">
                    <a:moveTo>
                      <a:pt x="0" y="2"/>
                    </a:moveTo>
                    <a:cubicBezTo>
                      <a:pt x="9" y="10"/>
                      <a:pt x="16" y="7"/>
                      <a:pt x="28" y="6"/>
                    </a:cubicBezTo>
                    <a:cubicBezTo>
                      <a:pt x="17" y="0"/>
                      <a:pt x="9" y="1"/>
                      <a:pt x="0" y="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1">
                <a:extLst>
                  <a:ext uri="{FF2B5EF4-FFF2-40B4-BE49-F238E27FC236}">
                    <a16:creationId xmlns:a16="http://schemas.microsoft.com/office/drawing/2014/main" id="{5A3E9549-0C0A-46FA-F80B-C59F87474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9023" y="2749828"/>
                <a:ext cx="59293" cy="26951"/>
              </a:xfrm>
              <a:custGeom>
                <a:avLst/>
                <a:gdLst>
                  <a:gd name="T0" fmla="*/ 25 w 25"/>
                  <a:gd name="T1" fmla="*/ 9 h 11"/>
                  <a:gd name="T2" fmla="*/ 0 w 25"/>
                  <a:gd name="T3" fmla="*/ 0 h 11"/>
                  <a:gd name="T4" fmla="*/ 25 w 25"/>
                  <a:gd name="T5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25" y="9"/>
                    </a:moveTo>
                    <a:cubicBezTo>
                      <a:pt x="17" y="4"/>
                      <a:pt x="10" y="2"/>
                      <a:pt x="0" y="0"/>
                    </a:cubicBezTo>
                    <a:cubicBezTo>
                      <a:pt x="13" y="11"/>
                      <a:pt x="13" y="11"/>
                      <a:pt x="25" y="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82">
                <a:extLst>
                  <a:ext uri="{FF2B5EF4-FFF2-40B4-BE49-F238E27FC236}">
                    <a16:creationId xmlns:a16="http://schemas.microsoft.com/office/drawing/2014/main" id="{ECF40B18-2380-F7A4-05ED-8B8A9294F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0344" y="1650215"/>
                <a:ext cx="55251" cy="28299"/>
              </a:xfrm>
              <a:custGeom>
                <a:avLst/>
                <a:gdLst>
                  <a:gd name="T0" fmla="*/ 23 w 23"/>
                  <a:gd name="T1" fmla="*/ 5 h 12"/>
                  <a:gd name="T2" fmla="*/ 0 w 23"/>
                  <a:gd name="T3" fmla="*/ 9 h 12"/>
                  <a:gd name="T4" fmla="*/ 23 w 23"/>
                  <a:gd name="T5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2">
                    <a:moveTo>
                      <a:pt x="23" y="5"/>
                    </a:moveTo>
                    <a:cubicBezTo>
                      <a:pt x="16" y="6"/>
                      <a:pt x="8" y="0"/>
                      <a:pt x="0" y="9"/>
                    </a:cubicBezTo>
                    <a:cubicBezTo>
                      <a:pt x="9" y="10"/>
                      <a:pt x="17" y="12"/>
                      <a:pt x="23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83">
                <a:extLst>
                  <a:ext uri="{FF2B5EF4-FFF2-40B4-BE49-F238E27FC236}">
                    <a16:creationId xmlns:a16="http://schemas.microsoft.com/office/drawing/2014/main" id="{1B80F539-B900-A6FF-3803-BBCB71986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216" y="1656954"/>
                <a:ext cx="35036" cy="36383"/>
              </a:xfrm>
              <a:custGeom>
                <a:avLst/>
                <a:gdLst>
                  <a:gd name="T0" fmla="*/ 15 w 15"/>
                  <a:gd name="T1" fmla="*/ 11 h 15"/>
                  <a:gd name="T2" fmla="*/ 3 w 15"/>
                  <a:gd name="T3" fmla="*/ 1 h 15"/>
                  <a:gd name="T4" fmla="*/ 1 w 15"/>
                  <a:gd name="T5" fmla="*/ 7 h 15"/>
                  <a:gd name="T6" fmla="*/ 15 w 15"/>
                  <a:gd name="T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5">
                    <a:moveTo>
                      <a:pt x="15" y="11"/>
                    </a:moveTo>
                    <a:cubicBezTo>
                      <a:pt x="12" y="6"/>
                      <a:pt x="10" y="0"/>
                      <a:pt x="3" y="1"/>
                    </a:cubicBezTo>
                    <a:cubicBezTo>
                      <a:pt x="0" y="2"/>
                      <a:pt x="0" y="4"/>
                      <a:pt x="1" y="7"/>
                    </a:cubicBezTo>
                    <a:cubicBezTo>
                      <a:pt x="4" y="13"/>
                      <a:pt x="8" y="15"/>
                      <a:pt x="15" y="1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84">
                <a:extLst>
                  <a:ext uri="{FF2B5EF4-FFF2-40B4-BE49-F238E27FC236}">
                    <a16:creationId xmlns:a16="http://schemas.microsoft.com/office/drawing/2014/main" id="{3C0D7906-AC29-2DEB-5DFA-78F666569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055" y="203157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85">
                <a:extLst>
                  <a:ext uri="{FF2B5EF4-FFF2-40B4-BE49-F238E27FC236}">
                    <a16:creationId xmlns:a16="http://schemas.microsoft.com/office/drawing/2014/main" id="{EF2D6259-1569-A394-7C2E-B9AD2A4F2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8628" y="2010016"/>
                <a:ext cx="40426" cy="26951"/>
              </a:xfrm>
              <a:custGeom>
                <a:avLst/>
                <a:gdLst>
                  <a:gd name="T0" fmla="*/ 2 w 17"/>
                  <a:gd name="T1" fmla="*/ 0 h 11"/>
                  <a:gd name="T2" fmla="*/ 0 w 17"/>
                  <a:gd name="T3" fmla="*/ 3 h 11"/>
                  <a:gd name="T4" fmla="*/ 14 w 17"/>
                  <a:gd name="T5" fmla="*/ 9 h 11"/>
                  <a:gd name="T6" fmla="*/ 17 w 17"/>
                  <a:gd name="T7" fmla="*/ 9 h 11"/>
                  <a:gd name="T8" fmla="*/ 2 w 1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2" y="0"/>
                    </a:moveTo>
                    <a:cubicBezTo>
                      <a:pt x="1" y="0"/>
                      <a:pt x="0" y="0"/>
                      <a:pt x="0" y="3"/>
                    </a:cubicBezTo>
                    <a:cubicBezTo>
                      <a:pt x="2" y="11"/>
                      <a:pt x="9" y="9"/>
                      <a:pt x="14" y="9"/>
                    </a:cubicBezTo>
                    <a:cubicBezTo>
                      <a:pt x="15" y="9"/>
                      <a:pt x="16" y="9"/>
                      <a:pt x="17" y="9"/>
                    </a:cubicBezTo>
                    <a:cubicBezTo>
                      <a:pt x="15" y="1"/>
                      <a:pt x="9" y="0"/>
                      <a:pt x="2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86">
                <a:extLst>
                  <a:ext uri="{FF2B5EF4-FFF2-40B4-BE49-F238E27FC236}">
                    <a16:creationId xmlns:a16="http://schemas.microsoft.com/office/drawing/2014/main" id="{7C667A95-73A3-0027-06D5-D590718C7E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35205" y="4257751"/>
                <a:ext cx="74116" cy="49860"/>
              </a:xfrm>
              <a:custGeom>
                <a:avLst/>
                <a:gdLst>
                  <a:gd name="T0" fmla="*/ 31 w 31"/>
                  <a:gd name="T1" fmla="*/ 0 h 21"/>
                  <a:gd name="T2" fmla="*/ 13 w 31"/>
                  <a:gd name="T3" fmla="*/ 8 h 21"/>
                  <a:gd name="T4" fmla="*/ 0 w 31"/>
                  <a:gd name="T5" fmla="*/ 16 h 21"/>
                  <a:gd name="T6" fmla="*/ 3 w 31"/>
                  <a:gd name="T7" fmla="*/ 21 h 21"/>
                  <a:gd name="T8" fmla="*/ 15 w 31"/>
                  <a:gd name="T9" fmla="*/ 11 h 21"/>
                  <a:gd name="T10" fmla="*/ 15 w 31"/>
                  <a:gd name="T11" fmla="*/ 9 h 21"/>
                  <a:gd name="T12" fmla="*/ 31 w 31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3" y="5"/>
                      <a:pt x="16" y="0"/>
                      <a:pt x="13" y="8"/>
                    </a:cubicBezTo>
                    <a:cubicBezTo>
                      <a:pt x="8" y="10"/>
                      <a:pt x="1" y="8"/>
                      <a:pt x="0" y="16"/>
                    </a:cubicBezTo>
                    <a:cubicBezTo>
                      <a:pt x="0" y="18"/>
                      <a:pt x="0" y="21"/>
                      <a:pt x="3" y="21"/>
                    </a:cubicBezTo>
                    <a:cubicBezTo>
                      <a:pt x="10" y="21"/>
                      <a:pt x="12" y="15"/>
                      <a:pt x="15" y="11"/>
                    </a:cubicBezTo>
                    <a:cubicBezTo>
                      <a:pt x="15" y="10"/>
                      <a:pt x="15" y="10"/>
                      <a:pt x="15" y="9"/>
                    </a:cubicBezTo>
                    <a:cubicBezTo>
                      <a:pt x="20" y="8"/>
                      <a:pt x="27" y="11"/>
                      <a:pt x="31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87">
                <a:extLst>
                  <a:ext uri="{FF2B5EF4-FFF2-40B4-BE49-F238E27FC236}">
                    <a16:creationId xmlns:a16="http://schemas.microsoft.com/office/drawing/2014/main" id="{D23D3FDE-3F20-124E-8B4E-44F07B531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54" y="2067960"/>
                <a:ext cx="2695" cy="4042"/>
              </a:xfrm>
              <a:custGeom>
                <a:avLst/>
                <a:gdLst>
                  <a:gd name="T0" fmla="*/ 1 w 1"/>
                  <a:gd name="T1" fmla="*/ 1 h 2"/>
                  <a:gd name="T2" fmla="*/ 0 w 1"/>
                  <a:gd name="T3" fmla="*/ 0 h 2"/>
                  <a:gd name="T4" fmla="*/ 0 w 1"/>
                  <a:gd name="T5" fmla="*/ 2 h 2"/>
                  <a:gd name="T6" fmla="*/ 1 w 1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cubicBezTo>
                      <a:pt x="1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1" y="2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88">
                <a:extLst>
                  <a:ext uri="{FF2B5EF4-FFF2-40B4-BE49-F238E27FC236}">
                    <a16:creationId xmlns:a16="http://schemas.microsoft.com/office/drawing/2014/main" id="{BF99E672-35C9-2443-65B8-E078678CA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54" y="2065266"/>
                <a:ext cx="0" cy="2695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89">
                <a:extLst>
                  <a:ext uri="{FF2B5EF4-FFF2-40B4-BE49-F238E27FC236}">
                    <a16:creationId xmlns:a16="http://schemas.microsoft.com/office/drawing/2014/main" id="{696555FE-C384-42C0-FCD2-5A3B0EE54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2618" y="2733657"/>
                <a:ext cx="4043" cy="4042"/>
              </a:xfrm>
              <a:custGeom>
                <a:avLst/>
                <a:gdLst>
                  <a:gd name="T0" fmla="*/ 0 w 2"/>
                  <a:gd name="T1" fmla="*/ 0 h 2"/>
                  <a:gd name="T2" fmla="*/ 1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0" y="1"/>
                      <a:pt x="0" y="2"/>
                      <a:pt x="1" y="2"/>
                    </a:cubicBezTo>
                    <a:cubicBezTo>
                      <a:pt x="1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2BDAB8D-5CA9-9A8F-B3B4-815C8A3C3ABE}"/>
                </a:ext>
              </a:extLst>
            </p:cNvPr>
            <p:cNvSpPr/>
            <p:nvPr/>
          </p:nvSpPr>
          <p:spPr>
            <a:xfrm>
              <a:off x="6003635" y="1068974"/>
              <a:ext cx="184731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US" sz="4800" b="1">
                <a:solidFill>
                  <a:schemeClr val="accent1"/>
                </a:solidFill>
              </a:endParaRPr>
            </a:p>
          </p:txBody>
        </p:sp>
      </p:grpSp>
      <p:cxnSp>
        <p:nvCxnSpPr>
          <p:cNvPr id="10" name="Straight Connector 9" descr="Line">
            <a:extLst>
              <a:ext uri="{FF2B5EF4-FFF2-40B4-BE49-F238E27FC236}">
                <a16:creationId xmlns:a16="http://schemas.microsoft.com/office/drawing/2014/main" id="{4C3F4FC5-0C01-4592-9483-D476EA2BDF93}"/>
              </a:ext>
            </a:extLst>
          </p:cNvPr>
          <p:cNvCxnSpPr/>
          <p:nvPr/>
        </p:nvCxnSpPr>
        <p:spPr>
          <a:xfrm>
            <a:off x="6096000" y="4124378"/>
            <a:ext cx="0" cy="396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664D6C7-B79B-7338-F32D-57CECE54CA11}"/>
              </a:ext>
            </a:extLst>
          </p:cNvPr>
          <p:cNvSpPr/>
          <p:nvPr/>
        </p:nvSpPr>
        <p:spPr>
          <a:xfrm>
            <a:off x="4431878" y="2385432"/>
            <a:ext cx="3650743" cy="2626809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5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3: Airbnb had served 9,000,000 guests since its founding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4: Announced a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partnership 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with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Concur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,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Business Travel Badge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available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5: Introduces Price Tips and</a:t>
            </a:r>
          </a:p>
          <a:p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           Smart Pricing for hosts.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6: Led a $13 million investment in </a:t>
            </a:r>
            <a:r>
              <a:rPr lang="en-US" sz="1400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Resy</a:t>
            </a:r>
            <a:endParaRPr lang="en-US" sz="14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6: Launches “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Friendly Buildings Program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”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7: Airbnb acquires Tilt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52A9365-1453-4B57-5C8A-9355095245CA}"/>
              </a:ext>
            </a:extLst>
          </p:cNvPr>
          <p:cNvSpPr/>
          <p:nvPr/>
        </p:nvSpPr>
        <p:spPr>
          <a:xfrm>
            <a:off x="376522" y="2389856"/>
            <a:ext cx="3719008" cy="2614349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5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4: The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new logo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, called the </a:t>
            </a:r>
            <a:r>
              <a:rPr lang="en-US" sz="1400" b="1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Bélo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, was released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5: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iPad map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– provides high resolution photo and interactive map</a:t>
            </a:r>
            <a:br>
              <a:rPr lang="en-US" sz="1400">
                <a:latin typeface="Calibri"/>
                <a:ea typeface="Calibri"/>
                <a:cs typeface="Calibri"/>
              </a:rPr>
            </a:b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Apple watch app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– Increased speed of communication for users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6: Launched "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experiences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", whereby users can use the platform to book activities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cs typeface="Calibri"/>
              </a:rPr>
              <a:t>2017: Launched a magazine company launched </a:t>
            </a:r>
            <a:r>
              <a:rPr lang="en-US" sz="1400" err="1">
                <a:solidFill>
                  <a:srgbClr val="202122"/>
                </a:solidFill>
                <a:latin typeface="Calibri"/>
                <a:cs typeface="Calibri"/>
              </a:rPr>
              <a:t>Airbnbmag</a:t>
            </a:r>
            <a:endParaRPr lang="en-US" sz="1400">
              <a:solidFill>
                <a:srgbClr val="202122"/>
              </a:solidFill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10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AE77F99-7F03-2DFA-179D-9DB35FE553DB}"/>
              </a:ext>
            </a:extLst>
          </p:cNvPr>
          <p:cNvSpPr txBox="1">
            <a:spLocks/>
          </p:cNvSpPr>
          <p:nvPr/>
        </p:nvSpPr>
        <p:spPr>
          <a:xfrm>
            <a:off x="2074438" y="280339"/>
            <a:ext cx="7931484" cy="600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FF0000"/>
                </a:solidFill>
              </a:rPr>
              <a:t>PRODUCT ROADMAP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E5C9666-F7B6-5096-8A44-D4ADF5842C4B}"/>
              </a:ext>
            </a:extLst>
          </p:cNvPr>
          <p:cNvSpPr/>
          <p:nvPr/>
        </p:nvSpPr>
        <p:spPr>
          <a:xfrm>
            <a:off x="8335290" y="2332777"/>
            <a:ext cx="3565607" cy="2615397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5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cs typeface="Calibri"/>
              </a:rPr>
              <a:t>2013: Airbnb raises $450 million in Series B funding.</a:t>
            </a:r>
            <a:endParaRPr lang="en-US" sz="14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cs typeface="Calibri"/>
              </a:rPr>
              <a:t>2015: Airbnb raises $1 billion in Series C funding.</a:t>
            </a:r>
            <a:endParaRPr lang="en-US" sz="14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cs typeface="Calibri"/>
              </a:rPr>
              <a:t>2016: Airbnb raised $555.5 million  from Google Capital and Technology Crossover Ventures</a:t>
            </a:r>
            <a:endParaRPr lang="en-US" sz="14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cs typeface="Calibri"/>
              </a:rPr>
              <a:t>2017: Raised $1 billion in funding, bringing total funding raised to more than $3 billion </a:t>
            </a:r>
            <a:endParaRPr lang="en-US" sz="14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2722BA8-AB60-B8F8-E111-7DE148CB6C88}"/>
              </a:ext>
            </a:extLst>
          </p:cNvPr>
          <p:cNvSpPr/>
          <p:nvPr/>
        </p:nvSpPr>
        <p:spPr>
          <a:xfrm>
            <a:off x="4247029" y="1227044"/>
            <a:ext cx="3361764" cy="33617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/>
              <a:t>2013           2017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3F006983-B9DA-B3ED-6B1C-56F763C508C3}"/>
              </a:ext>
            </a:extLst>
          </p:cNvPr>
          <p:cNvSpPr/>
          <p:nvPr/>
        </p:nvSpPr>
        <p:spPr>
          <a:xfrm>
            <a:off x="5692587" y="1299882"/>
            <a:ext cx="448236" cy="2017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9906F2D-8B2B-E914-247F-9E8558731CCC}"/>
              </a:ext>
            </a:extLst>
          </p:cNvPr>
          <p:cNvSpPr/>
          <p:nvPr/>
        </p:nvSpPr>
        <p:spPr>
          <a:xfrm>
            <a:off x="1022986" y="1858848"/>
            <a:ext cx="2416602" cy="312122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FEATURE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3C8D006-7982-A337-AA9F-815F17A3700A}"/>
              </a:ext>
            </a:extLst>
          </p:cNvPr>
          <p:cNvSpPr/>
          <p:nvPr/>
        </p:nvSpPr>
        <p:spPr>
          <a:xfrm>
            <a:off x="4598838" y="1856615"/>
            <a:ext cx="2999308" cy="312121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EXPANSIONS + ACQUISTION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A6F2367-6F8E-1717-D8F1-01B7D38457BC}"/>
              </a:ext>
            </a:extLst>
          </p:cNvPr>
          <p:cNvSpPr/>
          <p:nvPr/>
        </p:nvSpPr>
        <p:spPr>
          <a:xfrm>
            <a:off x="8932961" y="1842485"/>
            <a:ext cx="2360573" cy="323327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FINANCIALS</a:t>
            </a:r>
          </a:p>
        </p:txBody>
      </p:sp>
      <p:pic>
        <p:nvPicPr>
          <p:cNvPr id="3" name="Picture 3" descr="A set of icons with a black arrow and a red circle&#10;&#10;Description automatically generated">
            <a:extLst>
              <a:ext uri="{FF2B5EF4-FFF2-40B4-BE49-F238E27FC236}">
                <a16:creationId xmlns:a16="http://schemas.microsoft.com/office/drawing/2014/main" id="{6910DDD4-BE43-D1F2-B5DF-732216DFCC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577" y="5581805"/>
            <a:ext cx="2743200" cy="737038"/>
          </a:xfrm>
          <a:prstGeom prst="rect">
            <a:avLst/>
          </a:prstGeom>
        </p:spPr>
      </p:pic>
      <p:pic>
        <p:nvPicPr>
          <p:cNvPr id="4" name="Picture 6" descr="A close up of a smart watch&#10;&#10;Description automatically generated">
            <a:extLst>
              <a:ext uri="{FF2B5EF4-FFF2-40B4-BE49-F238E27FC236}">
                <a16:creationId xmlns:a16="http://schemas.microsoft.com/office/drawing/2014/main" id="{0EE31DB6-58E1-217F-89E1-CD85077188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0018" y="5348938"/>
            <a:ext cx="1801906" cy="1001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8" descr="A screenshot of a hotel room&#10;&#10;Description automatically generated">
            <a:extLst>
              <a:ext uri="{FF2B5EF4-FFF2-40B4-BE49-F238E27FC236}">
                <a16:creationId xmlns:a16="http://schemas.microsoft.com/office/drawing/2014/main" id="{66D99A7E-4749-9F18-2B65-2785C9CE4C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1281" y="5227201"/>
            <a:ext cx="2866466" cy="1435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9706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F1D360D-BDBD-776D-D298-78A6355E307F}"/>
              </a:ext>
            </a:extLst>
          </p:cNvPr>
          <p:cNvGrpSpPr/>
          <p:nvPr/>
        </p:nvGrpSpPr>
        <p:grpSpPr>
          <a:xfrm>
            <a:off x="0" y="1426222"/>
            <a:ext cx="11754162" cy="5400772"/>
            <a:chOff x="469749" y="766579"/>
            <a:chExt cx="8544906" cy="4234046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902D746-1B12-1DF4-2C87-3A7BE0D52891}"/>
                </a:ext>
              </a:extLst>
            </p:cNvPr>
            <p:cNvGrpSpPr/>
            <p:nvPr/>
          </p:nvGrpSpPr>
          <p:grpSpPr>
            <a:xfrm>
              <a:off x="469749" y="766579"/>
              <a:ext cx="8544906" cy="4234046"/>
              <a:chOff x="1823547" y="1311977"/>
              <a:chExt cx="8544906" cy="4234046"/>
            </a:xfrm>
            <a:solidFill>
              <a:schemeClr val="bg1">
                <a:lumMod val="95000"/>
              </a:schemeClr>
            </a:solidFill>
          </p:grpSpPr>
          <p:sp>
            <p:nvSpPr>
              <p:cNvPr id="28" name="Freeform 2">
                <a:extLst>
                  <a:ext uri="{FF2B5EF4-FFF2-40B4-BE49-F238E27FC236}">
                    <a16:creationId xmlns:a16="http://schemas.microsoft.com/office/drawing/2014/main" id="{88CB8D2D-A405-4E32-4BC5-1658A0BFB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055" y="203157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">
                <a:extLst>
                  <a:ext uri="{FF2B5EF4-FFF2-40B4-BE49-F238E27FC236}">
                    <a16:creationId xmlns:a16="http://schemas.microsoft.com/office/drawing/2014/main" id="{E725B5AD-2BBA-A074-DAC6-5B6A9CF1EA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1544" y="1659648"/>
                <a:ext cx="4909177" cy="3270538"/>
              </a:xfrm>
              <a:custGeom>
                <a:avLst/>
                <a:gdLst>
                  <a:gd name="T0" fmla="*/ 1878 w 2059"/>
                  <a:gd name="T1" fmla="*/ 154 h 1371"/>
                  <a:gd name="T2" fmla="*/ 1775 w 2059"/>
                  <a:gd name="T3" fmla="*/ 162 h 1371"/>
                  <a:gd name="T4" fmla="*/ 1593 w 2059"/>
                  <a:gd name="T5" fmla="*/ 102 h 1371"/>
                  <a:gd name="T6" fmla="*/ 1447 w 2059"/>
                  <a:gd name="T7" fmla="*/ 122 h 1371"/>
                  <a:gd name="T8" fmla="*/ 1296 w 2059"/>
                  <a:gd name="T9" fmla="*/ 86 h 1371"/>
                  <a:gd name="T10" fmla="*/ 1237 w 2059"/>
                  <a:gd name="T11" fmla="*/ 24 h 1371"/>
                  <a:gd name="T12" fmla="*/ 1060 w 2059"/>
                  <a:gd name="T13" fmla="*/ 49 h 1371"/>
                  <a:gd name="T14" fmla="*/ 937 w 2059"/>
                  <a:gd name="T15" fmla="*/ 116 h 1371"/>
                  <a:gd name="T16" fmla="*/ 925 w 2059"/>
                  <a:gd name="T17" fmla="*/ 168 h 1371"/>
                  <a:gd name="T18" fmla="*/ 901 w 2059"/>
                  <a:gd name="T19" fmla="*/ 193 h 1371"/>
                  <a:gd name="T20" fmla="*/ 843 w 2059"/>
                  <a:gd name="T21" fmla="*/ 139 h 1371"/>
                  <a:gd name="T22" fmla="*/ 771 w 2059"/>
                  <a:gd name="T23" fmla="*/ 179 h 1371"/>
                  <a:gd name="T24" fmla="*/ 628 w 2059"/>
                  <a:gd name="T25" fmla="*/ 204 h 1371"/>
                  <a:gd name="T26" fmla="*/ 604 w 2059"/>
                  <a:gd name="T27" fmla="*/ 215 h 1371"/>
                  <a:gd name="T28" fmla="*/ 515 w 2059"/>
                  <a:gd name="T29" fmla="*/ 232 h 1371"/>
                  <a:gd name="T30" fmla="*/ 492 w 2059"/>
                  <a:gd name="T31" fmla="*/ 153 h 1371"/>
                  <a:gd name="T32" fmla="*/ 393 w 2059"/>
                  <a:gd name="T33" fmla="*/ 138 h 1371"/>
                  <a:gd name="T34" fmla="*/ 296 w 2059"/>
                  <a:gd name="T35" fmla="*/ 230 h 1371"/>
                  <a:gd name="T36" fmla="*/ 231 w 2059"/>
                  <a:gd name="T37" fmla="*/ 334 h 1371"/>
                  <a:gd name="T38" fmla="*/ 350 w 2059"/>
                  <a:gd name="T39" fmla="*/ 329 h 1371"/>
                  <a:gd name="T40" fmla="*/ 383 w 2059"/>
                  <a:gd name="T41" fmla="*/ 292 h 1371"/>
                  <a:gd name="T42" fmla="*/ 411 w 2059"/>
                  <a:gd name="T43" fmla="*/ 343 h 1371"/>
                  <a:gd name="T44" fmla="*/ 286 w 2059"/>
                  <a:gd name="T45" fmla="*/ 402 h 1371"/>
                  <a:gd name="T46" fmla="*/ 232 w 2059"/>
                  <a:gd name="T47" fmla="*/ 410 h 1371"/>
                  <a:gd name="T48" fmla="*/ 148 w 2059"/>
                  <a:gd name="T49" fmla="*/ 540 h 1371"/>
                  <a:gd name="T50" fmla="*/ 142 w 2059"/>
                  <a:gd name="T51" fmla="*/ 618 h 1371"/>
                  <a:gd name="T52" fmla="*/ 331 w 2059"/>
                  <a:gd name="T53" fmla="*/ 600 h 1371"/>
                  <a:gd name="T54" fmla="*/ 364 w 2059"/>
                  <a:gd name="T55" fmla="*/ 568 h 1371"/>
                  <a:gd name="T56" fmla="*/ 452 w 2059"/>
                  <a:gd name="T57" fmla="*/ 534 h 1371"/>
                  <a:gd name="T58" fmla="*/ 556 w 2059"/>
                  <a:gd name="T59" fmla="*/ 494 h 1371"/>
                  <a:gd name="T60" fmla="*/ 436 w 2059"/>
                  <a:gd name="T61" fmla="*/ 590 h 1371"/>
                  <a:gd name="T62" fmla="*/ 468 w 2059"/>
                  <a:gd name="T63" fmla="*/ 678 h 1371"/>
                  <a:gd name="T64" fmla="*/ 273 w 2059"/>
                  <a:gd name="T65" fmla="*/ 612 h 1371"/>
                  <a:gd name="T66" fmla="*/ 69 w 2059"/>
                  <a:gd name="T67" fmla="*/ 700 h 1371"/>
                  <a:gd name="T68" fmla="*/ 197 w 2059"/>
                  <a:gd name="T69" fmla="*/ 939 h 1371"/>
                  <a:gd name="T70" fmla="*/ 296 w 2059"/>
                  <a:gd name="T71" fmla="*/ 1156 h 1371"/>
                  <a:gd name="T72" fmla="*/ 491 w 2059"/>
                  <a:gd name="T73" fmla="*/ 1278 h 1371"/>
                  <a:gd name="T74" fmla="*/ 569 w 2059"/>
                  <a:gd name="T75" fmla="*/ 1029 h 1371"/>
                  <a:gd name="T76" fmla="*/ 595 w 2059"/>
                  <a:gd name="T77" fmla="*/ 874 h 1371"/>
                  <a:gd name="T78" fmla="*/ 562 w 2059"/>
                  <a:gd name="T79" fmla="*/ 795 h 1371"/>
                  <a:gd name="T80" fmla="*/ 728 w 2059"/>
                  <a:gd name="T81" fmla="*/ 732 h 1371"/>
                  <a:gd name="T82" fmla="*/ 667 w 2059"/>
                  <a:gd name="T83" fmla="*/ 694 h 1371"/>
                  <a:gd name="T84" fmla="*/ 862 w 2059"/>
                  <a:gd name="T85" fmla="*/ 776 h 1371"/>
                  <a:gd name="T86" fmla="*/ 983 w 2059"/>
                  <a:gd name="T87" fmla="*/ 840 h 1371"/>
                  <a:gd name="T88" fmla="*/ 1126 w 2059"/>
                  <a:gd name="T89" fmla="*/ 835 h 1371"/>
                  <a:gd name="T90" fmla="*/ 1190 w 2059"/>
                  <a:gd name="T91" fmla="*/ 977 h 1371"/>
                  <a:gd name="T92" fmla="*/ 1246 w 2059"/>
                  <a:gd name="T93" fmla="*/ 889 h 1371"/>
                  <a:gd name="T94" fmla="*/ 1373 w 2059"/>
                  <a:gd name="T95" fmla="*/ 696 h 1371"/>
                  <a:gd name="T96" fmla="*/ 1331 w 2059"/>
                  <a:gd name="T97" fmla="*/ 598 h 1371"/>
                  <a:gd name="T98" fmla="*/ 1404 w 2059"/>
                  <a:gd name="T99" fmla="*/ 586 h 1371"/>
                  <a:gd name="T100" fmla="*/ 1437 w 2059"/>
                  <a:gd name="T101" fmla="*/ 582 h 1371"/>
                  <a:gd name="T102" fmla="*/ 1510 w 2059"/>
                  <a:gd name="T103" fmla="*/ 392 h 1371"/>
                  <a:gd name="T104" fmla="*/ 1758 w 2059"/>
                  <a:gd name="T105" fmla="*/ 296 h 1371"/>
                  <a:gd name="T106" fmla="*/ 1727 w 2059"/>
                  <a:gd name="T107" fmla="*/ 353 h 1371"/>
                  <a:gd name="T108" fmla="*/ 1780 w 2059"/>
                  <a:gd name="T109" fmla="*/ 348 h 1371"/>
                  <a:gd name="T110" fmla="*/ 1953 w 2059"/>
                  <a:gd name="T111" fmla="*/ 270 h 1371"/>
                  <a:gd name="T112" fmla="*/ 2028 w 2059"/>
                  <a:gd name="T113" fmla="*/ 251 h 1371"/>
                  <a:gd name="T114" fmla="*/ 658 w 2059"/>
                  <a:gd name="T115" fmla="*/ 590 h 1371"/>
                  <a:gd name="T116" fmla="*/ 687 w 2059"/>
                  <a:gd name="T117" fmla="*/ 546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59" h="1371">
                    <a:moveTo>
                      <a:pt x="2059" y="223"/>
                    </a:moveTo>
                    <a:cubicBezTo>
                      <a:pt x="2059" y="216"/>
                      <a:pt x="2050" y="214"/>
                      <a:pt x="2045" y="210"/>
                    </a:cubicBezTo>
                    <a:cubicBezTo>
                      <a:pt x="2042" y="208"/>
                      <a:pt x="2038" y="208"/>
                      <a:pt x="2034" y="207"/>
                    </a:cubicBezTo>
                    <a:cubicBezTo>
                      <a:pt x="2024" y="203"/>
                      <a:pt x="2017" y="200"/>
                      <a:pt x="2018" y="218"/>
                    </a:cubicBezTo>
                    <a:cubicBezTo>
                      <a:pt x="2012" y="205"/>
                      <a:pt x="2006" y="194"/>
                      <a:pt x="1994" y="188"/>
                    </a:cubicBezTo>
                    <a:cubicBezTo>
                      <a:pt x="1989" y="186"/>
                      <a:pt x="1984" y="185"/>
                      <a:pt x="1979" y="182"/>
                    </a:cubicBezTo>
                    <a:cubicBezTo>
                      <a:pt x="1952" y="167"/>
                      <a:pt x="1924" y="152"/>
                      <a:pt x="1891" y="156"/>
                    </a:cubicBezTo>
                    <a:cubicBezTo>
                      <a:pt x="1887" y="157"/>
                      <a:pt x="1882" y="157"/>
                      <a:pt x="1878" y="154"/>
                    </a:cubicBezTo>
                    <a:cubicBezTo>
                      <a:pt x="1874" y="151"/>
                      <a:pt x="1869" y="149"/>
                      <a:pt x="1866" y="152"/>
                    </a:cubicBezTo>
                    <a:cubicBezTo>
                      <a:pt x="1862" y="156"/>
                      <a:pt x="1864" y="161"/>
                      <a:pt x="1867" y="166"/>
                    </a:cubicBezTo>
                    <a:cubicBezTo>
                      <a:pt x="1869" y="168"/>
                      <a:pt x="1872" y="171"/>
                      <a:pt x="1867" y="174"/>
                    </a:cubicBezTo>
                    <a:cubicBezTo>
                      <a:pt x="1861" y="178"/>
                      <a:pt x="1843" y="170"/>
                      <a:pt x="1842" y="163"/>
                    </a:cubicBezTo>
                    <a:cubicBezTo>
                      <a:pt x="1844" y="160"/>
                      <a:pt x="1851" y="165"/>
                      <a:pt x="1852" y="156"/>
                    </a:cubicBezTo>
                    <a:cubicBezTo>
                      <a:pt x="1845" y="158"/>
                      <a:pt x="1839" y="152"/>
                      <a:pt x="1833" y="160"/>
                    </a:cubicBezTo>
                    <a:cubicBezTo>
                      <a:pt x="1831" y="163"/>
                      <a:pt x="1823" y="165"/>
                      <a:pt x="1820" y="164"/>
                    </a:cubicBezTo>
                    <a:cubicBezTo>
                      <a:pt x="1805" y="158"/>
                      <a:pt x="1790" y="163"/>
                      <a:pt x="1775" y="162"/>
                    </a:cubicBezTo>
                    <a:cubicBezTo>
                      <a:pt x="1769" y="161"/>
                      <a:pt x="1753" y="165"/>
                      <a:pt x="1758" y="148"/>
                    </a:cubicBezTo>
                    <a:cubicBezTo>
                      <a:pt x="1759" y="146"/>
                      <a:pt x="1754" y="140"/>
                      <a:pt x="1751" y="139"/>
                    </a:cubicBezTo>
                    <a:cubicBezTo>
                      <a:pt x="1741" y="137"/>
                      <a:pt x="1731" y="130"/>
                      <a:pt x="1720" y="134"/>
                    </a:cubicBezTo>
                    <a:cubicBezTo>
                      <a:pt x="1694" y="145"/>
                      <a:pt x="1672" y="129"/>
                      <a:pt x="1649" y="123"/>
                    </a:cubicBezTo>
                    <a:cubicBezTo>
                      <a:pt x="1651" y="118"/>
                      <a:pt x="1659" y="122"/>
                      <a:pt x="1656" y="115"/>
                    </a:cubicBezTo>
                    <a:cubicBezTo>
                      <a:pt x="1654" y="111"/>
                      <a:pt x="1628" y="111"/>
                      <a:pt x="1624" y="115"/>
                    </a:cubicBezTo>
                    <a:cubicBezTo>
                      <a:pt x="1621" y="119"/>
                      <a:pt x="1618" y="122"/>
                      <a:pt x="1614" y="123"/>
                    </a:cubicBezTo>
                    <a:cubicBezTo>
                      <a:pt x="1611" y="111"/>
                      <a:pt x="1605" y="104"/>
                      <a:pt x="1593" y="102"/>
                    </a:cubicBezTo>
                    <a:cubicBezTo>
                      <a:pt x="1577" y="99"/>
                      <a:pt x="1564" y="107"/>
                      <a:pt x="1549" y="110"/>
                    </a:cubicBezTo>
                    <a:cubicBezTo>
                      <a:pt x="1553" y="115"/>
                      <a:pt x="1559" y="118"/>
                      <a:pt x="1557" y="124"/>
                    </a:cubicBezTo>
                    <a:cubicBezTo>
                      <a:pt x="1556" y="128"/>
                      <a:pt x="1549" y="124"/>
                      <a:pt x="1547" y="126"/>
                    </a:cubicBezTo>
                    <a:cubicBezTo>
                      <a:pt x="1539" y="134"/>
                      <a:pt x="1532" y="128"/>
                      <a:pt x="1524" y="126"/>
                    </a:cubicBezTo>
                    <a:cubicBezTo>
                      <a:pt x="1512" y="124"/>
                      <a:pt x="1498" y="131"/>
                      <a:pt x="1486" y="121"/>
                    </a:cubicBezTo>
                    <a:cubicBezTo>
                      <a:pt x="1481" y="117"/>
                      <a:pt x="1481" y="125"/>
                      <a:pt x="1479" y="128"/>
                    </a:cubicBezTo>
                    <a:cubicBezTo>
                      <a:pt x="1475" y="134"/>
                      <a:pt x="1470" y="143"/>
                      <a:pt x="1461" y="136"/>
                    </a:cubicBezTo>
                    <a:cubicBezTo>
                      <a:pt x="1455" y="133"/>
                      <a:pt x="1451" y="127"/>
                      <a:pt x="1447" y="122"/>
                    </a:cubicBezTo>
                    <a:cubicBezTo>
                      <a:pt x="1446" y="120"/>
                      <a:pt x="1443" y="118"/>
                      <a:pt x="1445" y="114"/>
                    </a:cubicBezTo>
                    <a:cubicBezTo>
                      <a:pt x="1452" y="101"/>
                      <a:pt x="1444" y="87"/>
                      <a:pt x="1430" y="89"/>
                    </a:cubicBezTo>
                    <a:cubicBezTo>
                      <a:pt x="1424" y="89"/>
                      <a:pt x="1420" y="87"/>
                      <a:pt x="1415" y="86"/>
                    </a:cubicBezTo>
                    <a:cubicBezTo>
                      <a:pt x="1408" y="84"/>
                      <a:pt x="1396" y="77"/>
                      <a:pt x="1394" y="87"/>
                    </a:cubicBezTo>
                    <a:cubicBezTo>
                      <a:pt x="1391" y="100"/>
                      <a:pt x="1380" y="99"/>
                      <a:pt x="1375" y="97"/>
                    </a:cubicBezTo>
                    <a:cubicBezTo>
                      <a:pt x="1364" y="93"/>
                      <a:pt x="1347" y="104"/>
                      <a:pt x="1340" y="86"/>
                    </a:cubicBezTo>
                    <a:cubicBezTo>
                      <a:pt x="1340" y="85"/>
                      <a:pt x="1336" y="86"/>
                      <a:pt x="1335" y="85"/>
                    </a:cubicBezTo>
                    <a:cubicBezTo>
                      <a:pt x="1322" y="82"/>
                      <a:pt x="1309" y="85"/>
                      <a:pt x="1296" y="86"/>
                    </a:cubicBezTo>
                    <a:cubicBezTo>
                      <a:pt x="1294" y="86"/>
                      <a:pt x="1295" y="89"/>
                      <a:pt x="1291" y="87"/>
                    </a:cubicBezTo>
                    <a:cubicBezTo>
                      <a:pt x="1282" y="83"/>
                      <a:pt x="1272" y="81"/>
                      <a:pt x="1263" y="78"/>
                    </a:cubicBezTo>
                    <a:cubicBezTo>
                      <a:pt x="1260" y="77"/>
                      <a:pt x="1257" y="77"/>
                      <a:pt x="1255" y="81"/>
                    </a:cubicBezTo>
                    <a:cubicBezTo>
                      <a:pt x="1248" y="91"/>
                      <a:pt x="1230" y="97"/>
                      <a:pt x="1215" y="93"/>
                    </a:cubicBezTo>
                    <a:cubicBezTo>
                      <a:pt x="1239" y="83"/>
                      <a:pt x="1260" y="70"/>
                      <a:pt x="1282" y="59"/>
                    </a:cubicBezTo>
                    <a:cubicBezTo>
                      <a:pt x="1289" y="55"/>
                      <a:pt x="1295" y="50"/>
                      <a:pt x="1293" y="43"/>
                    </a:cubicBezTo>
                    <a:cubicBezTo>
                      <a:pt x="1291" y="35"/>
                      <a:pt x="1285" y="26"/>
                      <a:pt x="1278" y="25"/>
                    </a:cubicBezTo>
                    <a:cubicBezTo>
                      <a:pt x="1265" y="22"/>
                      <a:pt x="1250" y="23"/>
                      <a:pt x="1237" y="24"/>
                    </a:cubicBezTo>
                    <a:cubicBezTo>
                      <a:pt x="1225" y="26"/>
                      <a:pt x="1219" y="14"/>
                      <a:pt x="1208" y="14"/>
                    </a:cubicBezTo>
                    <a:cubicBezTo>
                      <a:pt x="1205" y="14"/>
                      <a:pt x="1208" y="12"/>
                      <a:pt x="1209" y="12"/>
                    </a:cubicBezTo>
                    <a:cubicBezTo>
                      <a:pt x="1219" y="7"/>
                      <a:pt x="1209" y="6"/>
                      <a:pt x="1207" y="4"/>
                    </a:cubicBezTo>
                    <a:cubicBezTo>
                      <a:pt x="1200" y="0"/>
                      <a:pt x="1192" y="1"/>
                      <a:pt x="1184" y="3"/>
                    </a:cubicBezTo>
                    <a:cubicBezTo>
                      <a:pt x="1169" y="7"/>
                      <a:pt x="1167" y="29"/>
                      <a:pt x="1148" y="30"/>
                    </a:cubicBezTo>
                    <a:cubicBezTo>
                      <a:pt x="1143" y="30"/>
                      <a:pt x="1128" y="39"/>
                      <a:pt x="1126" y="35"/>
                    </a:cubicBezTo>
                    <a:cubicBezTo>
                      <a:pt x="1123" y="25"/>
                      <a:pt x="1116" y="31"/>
                      <a:pt x="1113" y="32"/>
                    </a:cubicBezTo>
                    <a:cubicBezTo>
                      <a:pt x="1097" y="42"/>
                      <a:pt x="1078" y="43"/>
                      <a:pt x="1060" y="49"/>
                    </a:cubicBezTo>
                    <a:cubicBezTo>
                      <a:pt x="1049" y="53"/>
                      <a:pt x="1033" y="56"/>
                      <a:pt x="1038" y="75"/>
                    </a:cubicBezTo>
                    <a:cubicBezTo>
                      <a:pt x="1040" y="79"/>
                      <a:pt x="1038" y="80"/>
                      <a:pt x="1034" y="81"/>
                    </a:cubicBezTo>
                    <a:cubicBezTo>
                      <a:pt x="1019" y="86"/>
                      <a:pt x="1005" y="83"/>
                      <a:pt x="991" y="84"/>
                    </a:cubicBezTo>
                    <a:cubicBezTo>
                      <a:pt x="985" y="85"/>
                      <a:pt x="978" y="85"/>
                      <a:pt x="978" y="93"/>
                    </a:cubicBezTo>
                    <a:cubicBezTo>
                      <a:pt x="979" y="99"/>
                      <a:pt x="976" y="108"/>
                      <a:pt x="988" y="108"/>
                    </a:cubicBezTo>
                    <a:cubicBezTo>
                      <a:pt x="993" y="108"/>
                      <a:pt x="996" y="113"/>
                      <a:pt x="997" y="118"/>
                    </a:cubicBezTo>
                    <a:cubicBezTo>
                      <a:pt x="987" y="124"/>
                      <a:pt x="982" y="115"/>
                      <a:pt x="976" y="112"/>
                    </a:cubicBezTo>
                    <a:cubicBezTo>
                      <a:pt x="962" y="105"/>
                      <a:pt x="946" y="107"/>
                      <a:pt x="937" y="116"/>
                    </a:cubicBezTo>
                    <a:cubicBezTo>
                      <a:pt x="934" y="120"/>
                      <a:pt x="937" y="122"/>
                      <a:pt x="939" y="124"/>
                    </a:cubicBezTo>
                    <a:cubicBezTo>
                      <a:pt x="941" y="127"/>
                      <a:pt x="947" y="125"/>
                      <a:pt x="947" y="131"/>
                    </a:cubicBezTo>
                    <a:cubicBezTo>
                      <a:pt x="933" y="133"/>
                      <a:pt x="924" y="129"/>
                      <a:pt x="928" y="112"/>
                    </a:cubicBezTo>
                    <a:cubicBezTo>
                      <a:pt x="929" y="109"/>
                      <a:pt x="931" y="104"/>
                      <a:pt x="925" y="102"/>
                    </a:cubicBezTo>
                    <a:cubicBezTo>
                      <a:pt x="921" y="113"/>
                      <a:pt x="920" y="115"/>
                      <a:pt x="911" y="120"/>
                    </a:cubicBezTo>
                    <a:cubicBezTo>
                      <a:pt x="903" y="124"/>
                      <a:pt x="902" y="127"/>
                      <a:pt x="909" y="133"/>
                    </a:cubicBezTo>
                    <a:cubicBezTo>
                      <a:pt x="913" y="137"/>
                      <a:pt x="915" y="141"/>
                      <a:pt x="912" y="149"/>
                    </a:cubicBezTo>
                    <a:cubicBezTo>
                      <a:pt x="905" y="163"/>
                      <a:pt x="909" y="168"/>
                      <a:pt x="925" y="168"/>
                    </a:cubicBezTo>
                    <a:cubicBezTo>
                      <a:pt x="933" y="168"/>
                      <a:pt x="940" y="168"/>
                      <a:pt x="947" y="173"/>
                    </a:cubicBezTo>
                    <a:cubicBezTo>
                      <a:pt x="955" y="177"/>
                      <a:pt x="953" y="181"/>
                      <a:pt x="947" y="186"/>
                    </a:cubicBezTo>
                    <a:cubicBezTo>
                      <a:pt x="947" y="185"/>
                      <a:pt x="946" y="184"/>
                      <a:pt x="945" y="182"/>
                    </a:cubicBezTo>
                    <a:cubicBezTo>
                      <a:pt x="942" y="173"/>
                      <a:pt x="937" y="171"/>
                      <a:pt x="926" y="173"/>
                    </a:cubicBezTo>
                    <a:cubicBezTo>
                      <a:pt x="914" y="176"/>
                      <a:pt x="919" y="182"/>
                      <a:pt x="921" y="187"/>
                    </a:cubicBezTo>
                    <a:cubicBezTo>
                      <a:pt x="921" y="189"/>
                      <a:pt x="921" y="190"/>
                      <a:pt x="920" y="192"/>
                    </a:cubicBezTo>
                    <a:cubicBezTo>
                      <a:pt x="911" y="211"/>
                      <a:pt x="885" y="220"/>
                      <a:pt x="864" y="211"/>
                    </a:cubicBezTo>
                    <a:cubicBezTo>
                      <a:pt x="886" y="209"/>
                      <a:pt x="891" y="206"/>
                      <a:pt x="901" y="193"/>
                    </a:cubicBezTo>
                    <a:cubicBezTo>
                      <a:pt x="905" y="188"/>
                      <a:pt x="909" y="180"/>
                      <a:pt x="904" y="176"/>
                    </a:cubicBezTo>
                    <a:cubicBezTo>
                      <a:pt x="897" y="170"/>
                      <a:pt x="898" y="163"/>
                      <a:pt x="898" y="156"/>
                    </a:cubicBezTo>
                    <a:cubicBezTo>
                      <a:pt x="898" y="146"/>
                      <a:pt x="904" y="136"/>
                      <a:pt x="894" y="127"/>
                    </a:cubicBezTo>
                    <a:cubicBezTo>
                      <a:pt x="891" y="125"/>
                      <a:pt x="894" y="123"/>
                      <a:pt x="895" y="121"/>
                    </a:cubicBezTo>
                    <a:cubicBezTo>
                      <a:pt x="899" y="114"/>
                      <a:pt x="902" y="106"/>
                      <a:pt x="893" y="100"/>
                    </a:cubicBezTo>
                    <a:cubicBezTo>
                      <a:pt x="883" y="94"/>
                      <a:pt x="866" y="98"/>
                      <a:pt x="862" y="106"/>
                    </a:cubicBezTo>
                    <a:cubicBezTo>
                      <a:pt x="858" y="113"/>
                      <a:pt x="857" y="123"/>
                      <a:pt x="849" y="125"/>
                    </a:cubicBezTo>
                    <a:cubicBezTo>
                      <a:pt x="840" y="128"/>
                      <a:pt x="839" y="132"/>
                      <a:pt x="843" y="139"/>
                    </a:cubicBezTo>
                    <a:cubicBezTo>
                      <a:pt x="846" y="143"/>
                      <a:pt x="844" y="147"/>
                      <a:pt x="842" y="150"/>
                    </a:cubicBezTo>
                    <a:cubicBezTo>
                      <a:pt x="839" y="155"/>
                      <a:pt x="840" y="159"/>
                      <a:pt x="846" y="160"/>
                    </a:cubicBezTo>
                    <a:cubicBezTo>
                      <a:pt x="851" y="161"/>
                      <a:pt x="853" y="165"/>
                      <a:pt x="855" y="169"/>
                    </a:cubicBezTo>
                    <a:cubicBezTo>
                      <a:pt x="857" y="172"/>
                      <a:pt x="864" y="173"/>
                      <a:pt x="860" y="178"/>
                    </a:cubicBezTo>
                    <a:cubicBezTo>
                      <a:pt x="856" y="182"/>
                      <a:pt x="852" y="180"/>
                      <a:pt x="848" y="177"/>
                    </a:cubicBezTo>
                    <a:cubicBezTo>
                      <a:pt x="826" y="164"/>
                      <a:pt x="802" y="153"/>
                      <a:pt x="775" y="156"/>
                    </a:cubicBezTo>
                    <a:cubicBezTo>
                      <a:pt x="775" y="159"/>
                      <a:pt x="775" y="164"/>
                      <a:pt x="776" y="166"/>
                    </a:cubicBezTo>
                    <a:cubicBezTo>
                      <a:pt x="781" y="173"/>
                      <a:pt x="775" y="176"/>
                      <a:pt x="771" y="179"/>
                    </a:cubicBezTo>
                    <a:cubicBezTo>
                      <a:pt x="766" y="182"/>
                      <a:pt x="763" y="179"/>
                      <a:pt x="763" y="173"/>
                    </a:cubicBezTo>
                    <a:cubicBezTo>
                      <a:pt x="763" y="172"/>
                      <a:pt x="759" y="171"/>
                      <a:pt x="758" y="171"/>
                    </a:cubicBezTo>
                    <a:cubicBezTo>
                      <a:pt x="747" y="177"/>
                      <a:pt x="733" y="175"/>
                      <a:pt x="722" y="181"/>
                    </a:cubicBezTo>
                    <a:cubicBezTo>
                      <a:pt x="717" y="183"/>
                      <a:pt x="714" y="187"/>
                      <a:pt x="709" y="184"/>
                    </a:cubicBezTo>
                    <a:cubicBezTo>
                      <a:pt x="703" y="181"/>
                      <a:pt x="713" y="176"/>
                      <a:pt x="707" y="172"/>
                    </a:cubicBezTo>
                    <a:cubicBezTo>
                      <a:pt x="698" y="178"/>
                      <a:pt x="687" y="178"/>
                      <a:pt x="677" y="181"/>
                    </a:cubicBezTo>
                    <a:cubicBezTo>
                      <a:pt x="666" y="184"/>
                      <a:pt x="652" y="188"/>
                      <a:pt x="648" y="197"/>
                    </a:cubicBezTo>
                    <a:cubicBezTo>
                      <a:pt x="642" y="208"/>
                      <a:pt x="635" y="203"/>
                      <a:pt x="628" y="204"/>
                    </a:cubicBezTo>
                    <a:cubicBezTo>
                      <a:pt x="626" y="204"/>
                      <a:pt x="621" y="200"/>
                      <a:pt x="620" y="197"/>
                    </a:cubicBezTo>
                    <a:cubicBezTo>
                      <a:pt x="618" y="192"/>
                      <a:pt x="625" y="193"/>
                      <a:pt x="627" y="191"/>
                    </a:cubicBezTo>
                    <a:cubicBezTo>
                      <a:pt x="629" y="189"/>
                      <a:pt x="636" y="190"/>
                      <a:pt x="633" y="185"/>
                    </a:cubicBezTo>
                    <a:cubicBezTo>
                      <a:pt x="631" y="179"/>
                      <a:pt x="626" y="174"/>
                      <a:pt x="618" y="174"/>
                    </a:cubicBezTo>
                    <a:cubicBezTo>
                      <a:pt x="615" y="174"/>
                      <a:pt x="609" y="173"/>
                      <a:pt x="610" y="178"/>
                    </a:cubicBezTo>
                    <a:cubicBezTo>
                      <a:pt x="612" y="186"/>
                      <a:pt x="603" y="195"/>
                      <a:pt x="612" y="203"/>
                    </a:cubicBezTo>
                    <a:cubicBezTo>
                      <a:pt x="615" y="206"/>
                      <a:pt x="612" y="211"/>
                      <a:pt x="610" y="215"/>
                    </a:cubicBezTo>
                    <a:cubicBezTo>
                      <a:pt x="608" y="219"/>
                      <a:pt x="606" y="216"/>
                      <a:pt x="604" y="215"/>
                    </a:cubicBezTo>
                    <a:cubicBezTo>
                      <a:pt x="590" y="204"/>
                      <a:pt x="581" y="219"/>
                      <a:pt x="571" y="223"/>
                    </a:cubicBezTo>
                    <a:cubicBezTo>
                      <a:pt x="563" y="226"/>
                      <a:pt x="570" y="236"/>
                      <a:pt x="573" y="243"/>
                    </a:cubicBezTo>
                    <a:cubicBezTo>
                      <a:pt x="563" y="243"/>
                      <a:pt x="555" y="241"/>
                      <a:pt x="549" y="237"/>
                    </a:cubicBezTo>
                    <a:cubicBezTo>
                      <a:pt x="544" y="234"/>
                      <a:pt x="540" y="234"/>
                      <a:pt x="535" y="234"/>
                    </a:cubicBezTo>
                    <a:cubicBezTo>
                      <a:pt x="533" y="235"/>
                      <a:pt x="532" y="236"/>
                      <a:pt x="533" y="239"/>
                    </a:cubicBezTo>
                    <a:cubicBezTo>
                      <a:pt x="535" y="246"/>
                      <a:pt x="540" y="246"/>
                      <a:pt x="545" y="247"/>
                    </a:cubicBezTo>
                    <a:cubicBezTo>
                      <a:pt x="546" y="247"/>
                      <a:pt x="546" y="248"/>
                      <a:pt x="547" y="249"/>
                    </a:cubicBezTo>
                    <a:cubicBezTo>
                      <a:pt x="531" y="255"/>
                      <a:pt x="513" y="246"/>
                      <a:pt x="515" y="232"/>
                    </a:cubicBezTo>
                    <a:cubicBezTo>
                      <a:pt x="517" y="218"/>
                      <a:pt x="509" y="216"/>
                      <a:pt x="502" y="210"/>
                    </a:cubicBezTo>
                    <a:cubicBezTo>
                      <a:pt x="500" y="209"/>
                      <a:pt x="496" y="211"/>
                      <a:pt x="497" y="206"/>
                    </a:cubicBezTo>
                    <a:cubicBezTo>
                      <a:pt x="500" y="203"/>
                      <a:pt x="503" y="205"/>
                      <a:pt x="506" y="206"/>
                    </a:cubicBezTo>
                    <a:cubicBezTo>
                      <a:pt x="523" y="215"/>
                      <a:pt x="542" y="218"/>
                      <a:pt x="561" y="216"/>
                    </a:cubicBezTo>
                    <a:cubicBezTo>
                      <a:pt x="569" y="215"/>
                      <a:pt x="577" y="212"/>
                      <a:pt x="580" y="202"/>
                    </a:cubicBezTo>
                    <a:cubicBezTo>
                      <a:pt x="582" y="193"/>
                      <a:pt x="575" y="189"/>
                      <a:pt x="568" y="185"/>
                    </a:cubicBezTo>
                    <a:cubicBezTo>
                      <a:pt x="558" y="179"/>
                      <a:pt x="544" y="175"/>
                      <a:pt x="536" y="167"/>
                    </a:cubicBezTo>
                    <a:cubicBezTo>
                      <a:pt x="522" y="156"/>
                      <a:pt x="502" y="172"/>
                      <a:pt x="492" y="153"/>
                    </a:cubicBezTo>
                    <a:cubicBezTo>
                      <a:pt x="492" y="153"/>
                      <a:pt x="490" y="153"/>
                      <a:pt x="489" y="153"/>
                    </a:cubicBezTo>
                    <a:cubicBezTo>
                      <a:pt x="482" y="157"/>
                      <a:pt x="474" y="151"/>
                      <a:pt x="467" y="155"/>
                    </a:cubicBezTo>
                    <a:cubicBezTo>
                      <a:pt x="466" y="151"/>
                      <a:pt x="468" y="151"/>
                      <a:pt x="470" y="150"/>
                    </a:cubicBezTo>
                    <a:cubicBezTo>
                      <a:pt x="473" y="148"/>
                      <a:pt x="477" y="146"/>
                      <a:pt x="477" y="141"/>
                    </a:cubicBezTo>
                    <a:cubicBezTo>
                      <a:pt x="476" y="139"/>
                      <a:pt x="446" y="129"/>
                      <a:pt x="445" y="131"/>
                    </a:cubicBezTo>
                    <a:cubicBezTo>
                      <a:pt x="442" y="142"/>
                      <a:pt x="428" y="134"/>
                      <a:pt x="424" y="147"/>
                    </a:cubicBezTo>
                    <a:cubicBezTo>
                      <a:pt x="422" y="138"/>
                      <a:pt x="428" y="134"/>
                      <a:pt x="429" y="131"/>
                    </a:cubicBezTo>
                    <a:cubicBezTo>
                      <a:pt x="415" y="127"/>
                      <a:pt x="408" y="149"/>
                      <a:pt x="393" y="138"/>
                    </a:cubicBezTo>
                    <a:cubicBezTo>
                      <a:pt x="393" y="139"/>
                      <a:pt x="393" y="140"/>
                      <a:pt x="392" y="140"/>
                    </a:cubicBezTo>
                    <a:cubicBezTo>
                      <a:pt x="388" y="148"/>
                      <a:pt x="376" y="153"/>
                      <a:pt x="369" y="150"/>
                    </a:cubicBezTo>
                    <a:cubicBezTo>
                      <a:pt x="365" y="149"/>
                      <a:pt x="344" y="157"/>
                      <a:pt x="343" y="161"/>
                    </a:cubicBezTo>
                    <a:cubicBezTo>
                      <a:pt x="342" y="162"/>
                      <a:pt x="341" y="164"/>
                      <a:pt x="342" y="165"/>
                    </a:cubicBezTo>
                    <a:cubicBezTo>
                      <a:pt x="347" y="175"/>
                      <a:pt x="338" y="172"/>
                      <a:pt x="336" y="170"/>
                    </a:cubicBezTo>
                    <a:cubicBezTo>
                      <a:pt x="330" y="168"/>
                      <a:pt x="326" y="165"/>
                      <a:pt x="322" y="172"/>
                    </a:cubicBezTo>
                    <a:cubicBezTo>
                      <a:pt x="318" y="181"/>
                      <a:pt x="329" y="178"/>
                      <a:pt x="330" y="181"/>
                    </a:cubicBezTo>
                    <a:cubicBezTo>
                      <a:pt x="320" y="198"/>
                      <a:pt x="302" y="209"/>
                      <a:pt x="296" y="230"/>
                    </a:cubicBezTo>
                    <a:cubicBezTo>
                      <a:pt x="295" y="234"/>
                      <a:pt x="290" y="246"/>
                      <a:pt x="280" y="246"/>
                    </a:cubicBezTo>
                    <a:cubicBezTo>
                      <a:pt x="276" y="246"/>
                      <a:pt x="276" y="249"/>
                      <a:pt x="273" y="252"/>
                    </a:cubicBezTo>
                    <a:cubicBezTo>
                      <a:pt x="265" y="262"/>
                      <a:pt x="252" y="268"/>
                      <a:pt x="241" y="276"/>
                    </a:cubicBezTo>
                    <a:cubicBezTo>
                      <a:pt x="235" y="280"/>
                      <a:pt x="225" y="279"/>
                      <a:pt x="226" y="289"/>
                    </a:cubicBezTo>
                    <a:cubicBezTo>
                      <a:pt x="227" y="299"/>
                      <a:pt x="220" y="311"/>
                      <a:pt x="235" y="314"/>
                    </a:cubicBezTo>
                    <a:cubicBezTo>
                      <a:pt x="236" y="322"/>
                      <a:pt x="225" y="313"/>
                      <a:pt x="226" y="321"/>
                    </a:cubicBezTo>
                    <a:cubicBezTo>
                      <a:pt x="227" y="327"/>
                      <a:pt x="234" y="321"/>
                      <a:pt x="237" y="325"/>
                    </a:cubicBezTo>
                    <a:cubicBezTo>
                      <a:pt x="236" y="330"/>
                      <a:pt x="230" y="331"/>
                      <a:pt x="231" y="334"/>
                    </a:cubicBezTo>
                    <a:cubicBezTo>
                      <a:pt x="238" y="340"/>
                      <a:pt x="245" y="344"/>
                      <a:pt x="253" y="342"/>
                    </a:cubicBezTo>
                    <a:cubicBezTo>
                      <a:pt x="260" y="339"/>
                      <a:pt x="266" y="333"/>
                      <a:pt x="272" y="329"/>
                    </a:cubicBezTo>
                    <a:cubicBezTo>
                      <a:pt x="278" y="326"/>
                      <a:pt x="284" y="323"/>
                      <a:pt x="286" y="332"/>
                    </a:cubicBezTo>
                    <a:cubicBezTo>
                      <a:pt x="289" y="348"/>
                      <a:pt x="301" y="360"/>
                      <a:pt x="304" y="376"/>
                    </a:cubicBezTo>
                    <a:cubicBezTo>
                      <a:pt x="305" y="382"/>
                      <a:pt x="309" y="383"/>
                      <a:pt x="311" y="380"/>
                    </a:cubicBezTo>
                    <a:cubicBezTo>
                      <a:pt x="316" y="373"/>
                      <a:pt x="324" y="373"/>
                      <a:pt x="332" y="370"/>
                    </a:cubicBezTo>
                    <a:cubicBezTo>
                      <a:pt x="335" y="368"/>
                      <a:pt x="341" y="366"/>
                      <a:pt x="339" y="357"/>
                    </a:cubicBezTo>
                    <a:cubicBezTo>
                      <a:pt x="337" y="348"/>
                      <a:pt x="337" y="336"/>
                      <a:pt x="350" y="329"/>
                    </a:cubicBezTo>
                    <a:cubicBezTo>
                      <a:pt x="361" y="323"/>
                      <a:pt x="360" y="309"/>
                      <a:pt x="350" y="307"/>
                    </a:cubicBezTo>
                    <a:cubicBezTo>
                      <a:pt x="339" y="304"/>
                      <a:pt x="342" y="296"/>
                      <a:pt x="343" y="290"/>
                    </a:cubicBezTo>
                    <a:cubicBezTo>
                      <a:pt x="346" y="275"/>
                      <a:pt x="357" y="265"/>
                      <a:pt x="370" y="258"/>
                    </a:cubicBezTo>
                    <a:cubicBezTo>
                      <a:pt x="378" y="254"/>
                      <a:pt x="384" y="250"/>
                      <a:pt x="385" y="239"/>
                    </a:cubicBezTo>
                    <a:cubicBezTo>
                      <a:pt x="387" y="225"/>
                      <a:pt x="400" y="218"/>
                      <a:pt x="414" y="222"/>
                    </a:cubicBezTo>
                    <a:cubicBezTo>
                      <a:pt x="419" y="224"/>
                      <a:pt x="423" y="229"/>
                      <a:pt x="419" y="235"/>
                    </a:cubicBezTo>
                    <a:cubicBezTo>
                      <a:pt x="415" y="240"/>
                      <a:pt x="411" y="246"/>
                      <a:pt x="406" y="250"/>
                    </a:cubicBezTo>
                    <a:cubicBezTo>
                      <a:pt x="391" y="260"/>
                      <a:pt x="380" y="269"/>
                      <a:pt x="383" y="292"/>
                    </a:cubicBezTo>
                    <a:cubicBezTo>
                      <a:pt x="385" y="304"/>
                      <a:pt x="388" y="309"/>
                      <a:pt x="396" y="311"/>
                    </a:cubicBezTo>
                    <a:cubicBezTo>
                      <a:pt x="406" y="313"/>
                      <a:pt x="416" y="315"/>
                      <a:pt x="425" y="309"/>
                    </a:cubicBezTo>
                    <a:cubicBezTo>
                      <a:pt x="433" y="305"/>
                      <a:pt x="442" y="307"/>
                      <a:pt x="450" y="306"/>
                    </a:cubicBezTo>
                    <a:cubicBezTo>
                      <a:pt x="454" y="305"/>
                      <a:pt x="457" y="307"/>
                      <a:pt x="458" y="311"/>
                    </a:cubicBezTo>
                    <a:cubicBezTo>
                      <a:pt x="459" y="315"/>
                      <a:pt x="457" y="317"/>
                      <a:pt x="453" y="318"/>
                    </a:cubicBezTo>
                    <a:cubicBezTo>
                      <a:pt x="446" y="320"/>
                      <a:pt x="441" y="322"/>
                      <a:pt x="433" y="321"/>
                    </a:cubicBezTo>
                    <a:cubicBezTo>
                      <a:pt x="423" y="319"/>
                      <a:pt x="412" y="321"/>
                      <a:pt x="404" y="328"/>
                    </a:cubicBezTo>
                    <a:cubicBezTo>
                      <a:pt x="398" y="334"/>
                      <a:pt x="409" y="338"/>
                      <a:pt x="411" y="343"/>
                    </a:cubicBezTo>
                    <a:cubicBezTo>
                      <a:pt x="413" y="346"/>
                      <a:pt x="413" y="351"/>
                      <a:pt x="411" y="353"/>
                    </a:cubicBezTo>
                    <a:cubicBezTo>
                      <a:pt x="408" y="356"/>
                      <a:pt x="403" y="355"/>
                      <a:pt x="401" y="353"/>
                    </a:cubicBezTo>
                    <a:cubicBezTo>
                      <a:pt x="397" y="349"/>
                      <a:pt x="391" y="345"/>
                      <a:pt x="387" y="349"/>
                    </a:cubicBezTo>
                    <a:cubicBezTo>
                      <a:pt x="382" y="354"/>
                      <a:pt x="378" y="360"/>
                      <a:pt x="379" y="369"/>
                    </a:cubicBezTo>
                    <a:cubicBezTo>
                      <a:pt x="380" y="376"/>
                      <a:pt x="386" y="389"/>
                      <a:pt x="368" y="391"/>
                    </a:cubicBezTo>
                    <a:cubicBezTo>
                      <a:pt x="362" y="391"/>
                      <a:pt x="358" y="394"/>
                      <a:pt x="352" y="391"/>
                    </a:cubicBezTo>
                    <a:cubicBezTo>
                      <a:pt x="348" y="388"/>
                      <a:pt x="342" y="389"/>
                      <a:pt x="338" y="393"/>
                    </a:cubicBezTo>
                    <a:cubicBezTo>
                      <a:pt x="323" y="407"/>
                      <a:pt x="301" y="388"/>
                      <a:pt x="286" y="402"/>
                    </a:cubicBezTo>
                    <a:cubicBezTo>
                      <a:pt x="285" y="401"/>
                      <a:pt x="284" y="399"/>
                      <a:pt x="283" y="398"/>
                    </a:cubicBezTo>
                    <a:cubicBezTo>
                      <a:pt x="268" y="392"/>
                      <a:pt x="279" y="381"/>
                      <a:pt x="278" y="372"/>
                    </a:cubicBezTo>
                    <a:cubicBezTo>
                      <a:pt x="278" y="365"/>
                      <a:pt x="274" y="357"/>
                      <a:pt x="279" y="350"/>
                    </a:cubicBezTo>
                    <a:cubicBezTo>
                      <a:pt x="278" y="350"/>
                      <a:pt x="277" y="349"/>
                      <a:pt x="275" y="348"/>
                    </a:cubicBezTo>
                    <a:cubicBezTo>
                      <a:pt x="272" y="358"/>
                      <a:pt x="254" y="354"/>
                      <a:pt x="255" y="370"/>
                    </a:cubicBezTo>
                    <a:cubicBezTo>
                      <a:pt x="256" y="378"/>
                      <a:pt x="260" y="386"/>
                      <a:pt x="261" y="394"/>
                    </a:cubicBezTo>
                    <a:cubicBezTo>
                      <a:pt x="262" y="399"/>
                      <a:pt x="268" y="412"/>
                      <a:pt x="251" y="406"/>
                    </a:cubicBezTo>
                    <a:cubicBezTo>
                      <a:pt x="246" y="404"/>
                      <a:pt x="237" y="407"/>
                      <a:pt x="232" y="410"/>
                    </a:cubicBezTo>
                    <a:cubicBezTo>
                      <a:pt x="217" y="420"/>
                      <a:pt x="207" y="436"/>
                      <a:pt x="191" y="447"/>
                    </a:cubicBezTo>
                    <a:cubicBezTo>
                      <a:pt x="181" y="454"/>
                      <a:pt x="175" y="465"/>
                      <a:pt x="160" y="458"/>
                    </a:cubicBezTo>
                    <a:cubicBezTo>
                      <a:pt x="157" y="457"/>
                      <a:pt x="154" y="459"/>
                      <a:pt x="155" y="463"/>
                    </a:cubicBezTo>
                    <a:cubicBezTo>
                      <a:pt x="160" y="481"/>
                      <a:pt x="151" y="474"/>
                      <a:pt x="142" y="471"/>
                    </a:cubicBezTo>
                    <a:cubicBezTo>
                      <a:pt x="137" y="469"/>
                      <a:pt x="128" y="469"/>
                      <a:pt x="126" y="475"/>
                    </a:cubicBezTo>
                    <a:cubicBezTo>
                      <a:pt x="124" y="480"/>
                      <a:pt x="129" y="485"/>
                      <a:pt x="137" y="486"/>
                    </a:cubicBezTo>
                    <a:cubicBezTo>
                      <a:pt x="164" y="489"/>
                      <a:pt x="165" y="517"/>
                      <a:pt x="158" y="536"/>
                    </a:cubicBezTo>
                    <a:cubicBezTo>
                      <a:pt x="155" y="541"/>
                      <a:pt x="151" y="541"/>
                      <a:pt x="148" y="540"/>
                    </a:cubicBezTo>
                    <a:cubicBezTo>
                      <a:pt x="131" y="534"/>
                      <a:pt x="113" y="539"/>
                      <a:pt x="96" y="535"/>
                    </a:cubicBezTo>
                    <a:cubicBezTo>
                      <a:pt x="91" y="533"/>
                      <a:pt x="81" y="536"/>
                      <a:pt x="84" y="548"/>
                    </a:cubicBezTo>
                    <a:cubicBezTo>
                      <a:pt x="87" y="559"/>
                      <a:pt x="88" y="572"/>
                      <a:pt x="82" y="582"/>
                    </a:cubicBezTo>
                    <a:cubicBezTo>
                      <a:pt x="75" y="594"/>
                      <a:pt x="89" y="602"/>
                      <a:pt x="86" y="613"/>
                    </a:cubicBezTo>
                    <a:cubicBezTo>
                      <a:pt x="86" y="613"/>
                      <a:pt x="90" y="615"/>
                      <a:pt x="91" y="615"/>
                    </a:cubicBezTo>
                    <a:cubicBezTo>
                      <a:pt x="101" y="609"/>
                      <a:pt x="106" y="614"/>
                      <a:pt x="111" y="621"/>
                    </a:cubicBezTo>
                    <a:cubicBezTo>
                      <a:pt x="114" y="626"/>
                      <a:pt x="117" y="622"/>
                      <a:pt x="120" y="622"/>
                    </a:cubicBezTo>
                    <a:cubicBezTo>
                      <a:pt x="127" y="620"/>
                      <a:pt x="134" y="618"/>
                      <a:pt x="142" y="618"/>
                    </a:cubicBezTo>
                    <a:cubicBezTo>
                      <a:pt x="154" y="618"/>
                      <a:pt x="171" y="602"/>
                      <a:pt x="173" y="590"/>
                    </a:cubicBezTo>
                    <a:cubicBezTo>
                      <a:pt x="174" y="576"/>
                      <a:pt x="180" y="567"/>
                      <a:pt x="195" y="564"/>
                    </a:cubicBezTo>
                    <a:cubicBezTo>
                      <a:pt x="200" y="562"/>
                      <a:pt x="207" y="557"/>
                      <a:pt x="206" y="551"/>
                    </a:cubicBezTo>
                    <a:cubicBezTo>
                      <a:pt x="205" y="538"/>
                      <a:pt x="213" y="539"/>
                      <a:pt x="220" y="540"/>
                    </a:cubicBezTo>
                    <a:cubicBezTo>
                      <a:pt x="234" y="543"/>
                      <a:pt x="246" y="540"/>
                      <a:pt x="257" y="530"/>
                    </a:cubicBezTo>
                    <a:cubicBezTo>
                      <a:pt x="263" y="525"/>
                      <a:pt x="273" y="526"/>
                      <a:pt x="276" y="535"/>
                    </a:cubicBezTo>
                    <a:cubicBezTo>
                      <a:pt x="282" y="551"/>
                      <a:pt x="295" y="557"/>
                      <a:pt x="308" y="565"/>
                    </a:cubicBezTo>
                    <a:cubicBezTo>
                      <a:pt x="321" y="572"/>
                      <a:pt x="335" y="580"/>
                      <a:pt x="331" y="600"/>
                    </a:cubicBezTo>
                    <a:cubicBezTo>
                      <a:pt x="333" y="594"/>
                      <a:pt x="344" y="593"/>
                      <a:pt x="341" y="586"/>
                    </a:cubicBezTo>
                    <a:cubicBezTo>
                      <a:pt x="335" y="570"/>
                      <a:pt x="347" y="578"/>
                      <a:pt x="352" y="577"/>
                    </a:cubicBezTo>
                    <a:cubicBezTo>
                      <a:pt x="352" y="573"/>
                      <a:pt x="350" y="571"/>
                      <a:pt x="347" y="570"/>
                    </a:cubicBezTo>
                    <a:cubicBezTo>
                      <a:pt x="328" y="561"/>
                      <a:pt x="313" y="548"/>
                      <a:pt x="301" y="530"/>
                    </a:cubicBezTo>
                    <a:cubicBezTo>
                      <a:pt x="297" y="524"/>
                      <a:pt x="296" y="518"/>
                      <a:pt x="301" y="512"/>
                    </a:cubicBezTo>
                    <a:cubicBezTo>
                      <a:pt x="307" y="505"/>
                      <a:pt x="310" y="514"/>
                      <a:pt x="313" y="517"/>
                    </a:cubicBezTo>
                    <a:cubicBezTo>
                      <a:pt x="325" y="530"/>
                      <a:pt x="337" y="544"/>
                      <a:pt x="355" y="550"/>
                    </a:cubicBezTo>
                    <a:cubicBezTo>
                      <a:pt x="364" y="554"/>
                      <a:pt x="364" y="561"/>
                      <a:pt x="364" y="568"/>
                    </a:cubicBezTo>
                    <a:cubicBezTo>
                      <a:pt x="364" y="580"/>
                      <a:pt x="375" y="593"/>
                      <a:pt x="388" y="595"/>
                    </a:cubicBezTo>
                    <a:cubicBezTo>
                      <a:pt x="382" y="600"/>
                      <a:pt x="379" y="606"/>
                      <a:pt x="385" y="611"/>
                    </a:cubicBezTo>
                    <a:cubicBezTo>
                      <a:pt x="388" y="614"/>
                      <a:pt x="396" y="621"/>
                      <a:pt x="398" y="616"/>
                    </a:cubicBezTo>
                    <a:cubicBezTo>
                      <a:pt x="401" y="609"/>
                      <a:pt x="406" y="604"/>
                      <a:pt x="409" y="597"/>
                    </a:cubicBezTo>
                    <a:cubicBezTo>
                      <a:pt x="397" y="595"/>
                      <a:pt x="402" y="582"/>
                      <a:pt x="392" y="576"/>
                    </a:cubicBezTo>
                    <a:cubicBezTo>
                      <a:pt x="405" y="577"/>
                      <a:pt x="413" y="565"/>
                      <a:pt x="421" y="568"/>
                    </a:cubicBezTo>
                    <a:cubicBezTo>
                      <a:pt x="434" y="573"/>
                      <a:pt x="443" y="568"/>
                      <a:pt x="455" y="563"/>
                    </a:cubicBezTo>
                    <a:cubicBezTo>
                      <a:pt x="443" y="554"/>
                      <a:pt x="440" y="545"/>
                      <a:pt x="452" y="534"/>
                    </a:cubicBezTo>
                    <a:cubicBezTo>
                      <a:pt x="454" y="533"/>
                      <a:pt x="454" y="531"/>
                      <a:pt x="455" y="529"/>
                    </a:cubicBezTo>
                    <a:cubicBezTo>
                      <a:pt x="462" y="520"/>
                      <a:pt x="465" y="509"/>
                      <a:pt x="474" y="502"/>
                    </a:cubicBezTo>
                    <a:cubicBezTo>
                      <a:pt x="479" y="498"/>
                      <a:pt x="502" y="501"/>
                      <a:pt x="501" y="506"/>
                    </a:cubicBezTo>
                    <a:cubicBezTo>
                      <a:pt x="499" y="511"/>
                      <a:pt x="497" y="515"/>
                      <a:pt x="502" y="519"/>
                    </a:cubicBezTo>
                    <a:cubicBezTo>
                      <a:pt x="508" y="525"/>
                      <a:pt x="513" y="523"/>
                      <a:pt x="519" y="519"/>
                    </a:cubicBezTo>
                    <a:cubicBezTo>
                      <a:pt x="521" y="517"/>
                      <a:pt x="525" y="514"/>
                      <a:pt x="520" y="512"/>
                    </a:cubicBezTo>
                    <a:cubicBezTo>
                      <a:pt x="507" y="505"/>
                      <a:pt x="520" y="501"/>
                      <a:pt x="522" y="501"/>
                    </a:cubicBezTo>
                    <a:cubicBezTo>
                      <a:pt x="533" y="498"/>
                      <a:pt x="542" y="489"/>
                      <a:pt x="556" y="494"/>
                    </a:cubicBezTo>
                    <a:cubicBezTo>
                      <a:pt x="545" y="500"/>
                      <a:pt x="546" y="512"/>
                      <a:pt x="536" y="521"/>
                    </a:cubicBezTo>
                    <a:cubicBezTo>
                      <a:pt x="554" y="523"/>
                      <a:pt x="560" y="540"/>
                      <a:pt x="576" y="543"/>
                    </a:cubicBezTo>
                    <a:cubicBezTo>
                      <a:pt x="579" y="543"/>
                      <a:pt x="584" y="551"/>
                      <a:pt x="582" y="556"/>
                    </a:cubicBezTo>
                    <a:cubicBezTo>
                      <a:pt x="580" y="561"/>
                      <a:pt x="576" y="564"/>
                      <a:pt x="569" y="564"/>
                    </a:cubicBezTo>
                    <a:cubicBezTo>
                      <a:pt x="554" y="564"/>
                      <a:pt x="540" y="566"/>
                      <a:pt x="526" y="559"/>
                    </a:cubicBezTo>
                    <a:cubicBezTo>
                      <a:pt x="518" y="555"/>
                      <a:pt x="507" y="555"/>
                      <a:pt x="496" y="557"/>
                    </a:cubicBezTo>
                    <a:cubicBezTo>
                      <a:pt x="473" y="561"/>
                      <a:pt x="454" y="576"/>
                      <a:pt x="429" y="577"/>
                    </a:cubicBezTo>
                    <a:cubicBezTo>
                      <a:pt x="431" y="582"/>
                      <a:pt x="437" y="583"/>
                      <a:pt x="436" y="590"/>
                    </a:cubicBezTo>
                    <a:cubicBezTo>
                      <a:pt x="435" y="600"/>
                      <a:pt x="435" y="610"/>
                      <a:pt x="448" y="615"/>
                    </a:cubicBezTo>
                    <a:cubicBezTo>
                      <a:pt x="457" y="619"/>
                      <a:pt x="464" y="629"/>
                      <a:pt x="476" y="618"/>
                    </a:cubicBezTo>
                    <a:cubicBezTo>
                      <a:pt x="478" y="616"/>
                      <a:pt x="484" y="617"/>
                      <a:pt x="487" y="620"/>
                    </a:cubicBezTo>
                    <a:cubicBezTo>
                      <a:pt x="494" y="626"/>
                      <a:pt x="500" y="625"/>
                      <a:pt x="508" y="620"/>
                    </a:cubicBezTo>
                    <a:cubicBezTo>
                      <a:pt x="519" y="613"/>
                      <a:pt x="526" y="618"/>
                      <a:pt x="526" y="630"/>
                    </a:cubicBezTo>
                    <a:cubicBezTo>
                      <a:pt x="526" y="648"/>
                      <a:pt x="515" y="662"/>
                      <a:pt x="507" y="676"/>
                    </a:cubicBezTo>
                    <a:cubicBezTo>
                      <a:pt x="504" y="683"/>
                      <a:pt x="490" y="677"/>
                      <a:pt x="481" y="678"/>
                    </a:cubicBezTo>
                    <a:cubicBezTo>
                      <a:pt x="477" y="678"/>
                      <a:pt x="472" y="677"/>
                      <a:pt x="468" y="678"/>
                    </a:cubicBezTo>
                    <a:cubicBezTo>
                      <a:pt x="443" y="684"/>
                      <a:pt x="421" y="672"/>
                      <a:pt x="398" y="664"/>
                    </a:cubicBezTo>
                    <a:cubicBezTo>
                      <a:pt x="381" y="658"/>
                      <a:pt x="373" y="660"/>
                      <a:pt x="370" y="678"/>
                    </a:cubicBezTo>
                    <a:cubicBezTo>
                      <a:pt x="369" y="686"/>
                      <a:pt x="368" y="690"/>
                      <a:pt x="357" y="686"/>
                    </a:cubicBezTo>
                    <a:cubicBezTo>
                      <a:pt x="341" y="679"/>
                      <a:pt x="327" y="672"/>
                      <a:pt x="312" y="664"/>
                    </a:cubicBezTo>
                    <a:cubicBezTo>
                      <a:pt x="303" y="658"/>
                      <a:pt x="291" y="661"/>
                      <a:pt x="281" y="654"/>
                    </a:cubicBezTo>
                    <a:cubicBezTo>
                      <a:pt x="274" y="649"/>
                      <a:pt x="271" y="647"/>
                      <a:pt x="280" y="642"/>
                    </a:cubicBezTo>
                    <a:cubicBezTo>
                      <a:pt x="292" y="636"/>
                      <a:pt x="274" y="626"/>
                      <a:pt x="283" y="620"/>
                    </a:cubicBezTo>
                    <a:cubicBezTo>
                      <a:pt x="280" y="617"/>
                      <a:pt x="278" y="611"/>
                      <a:pt x="273" y="612"/>
                    </a:cubicBezTo>
                    <a:cubicBezTo>
                      <a:pt x="262" y="614"/>
                      <a:pt x="249" y="609"/>
                      <a:pt x="240" y="613"/>
                    </a:cubicBezTo>
                    <a:cubicBezTo>
                      <a:pt x="226" y="620"/>
                      <a:pt x="212" y="617"/>
                      <a:pt x="198" y="618"/>
                    </a:cubicBezTo>
                    <a:cubicBezTo>
                      <a:pt x="190" y="618"/>
                      <a:pt x="183" y="620"/>
                      <a:pt x="177" y="624"/>
                    </a:cubicBezTo>
                    <a:cubicBezTo>
                      <a:pt x="159" y="634"/>
                      <a:pt x="142" y="644"/>
                      <a:pt x="121" y="630"/>
                    </a:cubicBezTo>
                    <a:cubicBezTo>
                      <a:pt x="115" y="626"/>
                      <a:pt x="113" y="631"/>
                      <a:pt x="111" y="635"/>
                    </a:cubicBezTo>
                    <a:cubicBezTo>
                      <a:pt x="107" y="642"/>
                      <a:pt x="106" y="652"/>
                      <a:pt x="97" y="654"/>
                    </a:cubicBezTo>
                    <a:cubicBezTo>
                      <a:pt x="80" y="657"/>
                      <a:pt x="76" y="670"/>
                      <a:pt x="76" y="684"/>
                    </a:cubicBezTo>
                    <a:cubicBezTo>
                      <a:pt x="76" y="691"/>
                      <a:pt x="73" y="696"/>
                      <a:pt x="69" y="700"/>
                    </a:cubicBezTo>
                    <a:cubicBezTo>
                      <a:pt x="62" y="710"/>
                      <a:pt x="48" y="713"/>
                      <a:pt x="40" y="722"/>
                    </a:cubicBezTo>
                    <a:cubicBezTo>
                      <a:pt x="28" y="735"/>
                      <a:pt x="21" y="751"/>
                      <a:pt x="13" y="767"/>
                    </a:cubicBezTo>
                    <a:cubicBezTo>
                      <a:pt x="6" y="778"/>
                      <a:pt x="0" y="787"/>
                      <a:pt x="9" y="802"/>
                    </a:cubicBezTo>
                    <a:cubicBezTo>
                      <a:pt x="13" y="808"/>
                      <a:pt x="14" y="821"/>
                      <a:pt x="9" y="833"/>
                    </a:cubicBezTo>
                    <a:cubicBezTo>
                      <a:pt x="1" y="852"/>
                      <a:pt x="1" y="872"/>
                      <a:pt x="18" y="888"/>
                    </a:cubicBezTo>
                    <a:cubicBezTo>
                      <a:pt x="31" y="900"/>
                      <a:pt x="36" y="919"/>
                      <a:pt x="49" y="929"/>
                    </a:cubicBezTo>
                    <a:cubicBezTo>
                      <a:pt x="70" y="944"/>
                      <a:pt x="89" y="964"/>
                      <a:pt x="123" y="956"/>
                    </a:cubicBezTo>
                    <a:cubicBezTo>
                      <a:pt x="147" y="950"/>
                      <a:pt x="173" y="950"/>
                      <a:pt x="197" y="939"/>
                    </a:cubicBezTo>
                    <a:cubicBezTo>
                      <a:pt x="207" y="935"/>
                      <a:pt x="221" y="939"/>
                      <a:pt x="226" y="947"/>
                    </a:cubicBezTo>
                    <a:cubicBezTo>
                      <a:pt x="234" y="962"/>
                      <a:pt x="243" y="964"/>
                      <a:pt x="255" y="956"/>
                    </a:cubicBezTo>
                    <a:cubicBezTo>
                      <a:pt x="258" y="955"/>
                      <a:pt x="259" y="956"/>
                      <a:pt x="260" y="957"/>
                    </a:cubicBezTo>
                    <a:cubicBezTo>
                      <a:pt x="272" y="965"/>
                      <a:pt x="278" y="974"/>
                      <a:pt x="271" y="989"/>
                    </a:cubicBezTo>
                    <a:cubicBezTo>
                      <a:pt x="261" y="1008"/>
                      <a:pt x="263" y="1026"/>
                      <a:pt x="280" y="1039"/>
                    </a:cubicBezTo>
                    <a:cubicBezTo>
                      <a:pt x="297" y="1053"/>
                      <a:pt x="300" y="1074"/>
                      <a:pt x="306" y="1093"/>
                    </a:cubicBezTo>
                    <a:cubicBezTo>
                      <a:pt x="308" y="1103"/>
                      <a:pt x="314" y="1115"/>
                      <a:pt x="309" y="1124"/>
                    </a:cubicBezTo>
                    <a:cubicBezTo>
                      <a:pt x="304" y="1135"/>
                      <a:pt x="301" y="1146"/>
                      <a:pt x="296" y="1156"/>
                    </a:cubicBezTo>
                    <a:cubicBezTo>
                      <a:pt x="289" y="1173"/>
                      <a:pt x="293" y="1185"/>
                      <a:pt x="300" y="1200"/>
                    </a:cubicBezTo>
                    <a:cubicBezTo>
                      <a:pt x="306" y="1216"/>
                      <a:pt x="316" y="1230"/>
                      <a:pt x="317" y="1250"/>
                    </a:cubicBezTo>
                    <a:cubicBezTo>
                      <a:pt x="317" y="1265"/>
                      <a:pt x="320" y="1282"/>
                      <a:pt x="329" y="1296"/>
                    </a:cubicBezTo>
                    <a:cubicBezTo>
                      <a:pt x="340" y="1312"/>
                      <a:pt x="350" y="1329"/>
                      <a:pt x="349" y="1350"/>
                    </a:cubicBezTo>
                    <a:cubicBezTo>
                      <a:pt x="349" y="1360"/>
                      <a:pt x="364" y="1371"/>
                      <a:pt x="368" y="1367"/>
                    </a:cubicBezTo>
                    <a:cubicBezTo>
                      <a:pt x="377" y="1359"/>
                      <a:pt x="388" y="1359"/>
                      <a:pt x="397" y="1359"/>
                    </a:cubicBezTo>
                    <a:cubicBezTo>
                      <a:pt x="425" y="1359"/>
                      <a:pt x="448" y="1349"/>
                      <a:pt x="463" y="1326"/>
                    </a:cubicBezTo>
                    <a:cubicBezTo>
                      <a:pt x="473" y="1310"/>
                      <a:pt x="493" y="1299"/>
                      <a:pt x="491" y="1278"/>
                    </a:cubicBezTo>
                    <a:cubicBezTo>
                      <a:pt x="490" y="1267"/>
                      <a:pt x="494" y="1262"/>
                      <a:pt x="501" y="1260"/>
                    </a:cubicBezTo>
                    <a:cubicBezTo>
                      <a:pt x="519" y="1256"/>
                      <a:pt x="518" y="1244"/>
                      <a:pt x="517" y="1231"/>
                    </a:cubicBezTo>
                    <a:cubicBezTo>
                      <a:pt x="516" y="1225"/>
                      <a:pt x="515" y="1220"/>
                      <a:pt x="513" y="1215"/>
                    </a:cubicBezTo>
                    <a:cubicBezTo>
                      <a:pt x="509" y="1209"/>
                      <a:pt x="512" y="1203"/>
                      <a:pt x="516" y="1201"/>
                    </a:cubicBezTo>
                    <a:cubicBezTo>
                      <a:pt x="528" y="1193"/>
                      <a:pt x="537" y="1180"/>
                      <a:pt x="552" y="1175"/>
                    </a:cubicBezTo>
                    <a:cubicBezTo>
                      <a:pt x="563" y="1172"/>
                      <a:pt x="569" y="1163"/>
                      <a:pt x="570" y="1149"/>
                    </a:cubicBezTo>
                    <a:cubicBezTo>
                      <a:pt x="572" y="1122"/>
                      <a:pt x="557" y="1097"/>
                      <a:pt x="555" y="1071"/>
                    </a:cubicBezTo>
                    <a:cubicBezTo>
                      <a:pt x="554" y="1054"/>
                      <a:pt x="558" y="1039"/>
                      <a:pt x="569" y="1029"/>
                    </a:cubicBezTo>
                    <a:cubicBezTo>
                      <a:pt x="587" y="1012"/>
                      <a:pt x="602" y="992"/>
                      <a:pt x="623" y="979"/>
                    </a:cubicBezTo>
                    <a:cubicBezTo>
                      <a:pt x="646" y="964"/>
                      <a:pt x="655" y="939"/>
                      <a:pt x="668" y="918"/>
                    </a:cubicBezTo>
                    <a:cubicBezTo>
                      <a:pt x="673" y="908"/>
                      <a:pt x="680" y="896"/>
                      <a:pt x="674" y="882"/>
                    </a:cubicBezTo>
                    <a:cubicBezTo>
                      <a:pt x="667" y="887"/>
                      <a:pt x="659" y="888"/>
                      <a:pt x="650" y="889"/>
                    </a:cubicBezTo>
                    <a:cubicBezTo>
                      <a:pt x="640" y="889"/>
                      <a:pt x="629" y="892"/>
                      <a:pt x="619" y="896"/>
                    </a:cubicBezTo>
                    <a:cubicBezTo>
                      <a:pt x="614" y="898"/>
                      <a:pt x="606" y="903"/>
                      <a:pt x="605" y="898"/>
                    </a:cubicBezTo>
                    <a:cubicBezTo>
                      <a:pt x="604" y="891"/>
                      <a:pt x="587" y="891"/>
                      <a:pt x="598" y="880"/>
                    </a:cubicBezTo>
                    <a:cubicBezTo>
                      <a:pt x="599" y="878"/>
                      <a:pt x="596" y="876"/>
                      <a:pt x="595" y="874"/>
                    </a:cubicBezTo>
                    <a:cubicBezTo>
                      <a:pt x="586" y="865"/>
                      <a:pt x="581" y="854"/>
                      <a:pt x="567" y="851"/>
                    </a:cubicBezTo>
                    <a:cubicBezTo>
                      <a:pt x="561" y="850"/>
                      <a:pt x="558" y="842"/>
                      <a:pt x="556" y="836"/>
                    </a:cubicBezTo>
                    <a:cubicBezTo>
                      <a:pt x="549" y="817"/>
                      <a:pt x="535" y="801"/>
                      <a:pt x="533" y="779"/>
                    </a:cubicBezTo>
                    <a:cubicBezTo>
                      <a:pt x="533" y="779"/>
                      <a:pt x="533" y="779"/>
                      <a:pt x="532" y="778"/>
                    </a:cubicBezTo>
                    <a:cubicBezTo>
                      <a:pt x="520" y="764"/>
                      <a:pt x="515" y="746"/>
                      <a:pt x="507" y="730"/>
                    </a:cubicBezTo>
                    <a:cubicBezTo>
                      <a:pt x="500" y="718"/>
                      <a:pt x="501" y="717"/>
                      <a:pt x="512" y="711"/>
                    </a:cubicBezTo>
                    <a:cubicBezTo>
                      <a:pt x="527" y="729"/>
                      <a:pt x="538" y="749"/>
                      <a:pt x="552" y="767"/>
                    </a:cubicBezTo>
                    <a:cubicBezTo>
                      <a:pt x="559" y="776"/>
                      <a:pt x="554" y="788"/>
                      <a:pt x="562" y="795"/>
                    </a:cubicBezTo>
                    <a:cubicBezTo>
                      <a:pt x="584" y="814"/>
                      <a:pt x="592" y="840"/>
                      <a:pt x="598" y="867"/>
                    </a:cubicBezTo>
                    <a:cubicBezTo>
                      <a:pt x="600" y="877"/>
                      <a:pt x="605" y="877"/>
                      <a:pt x="612" y="874"/>
                    </a:cubicBezTo>
                    <a:cubicBezTo>
                      <a:pt x="640" y="863"/>
                      <a:pt x="672" y="857"/>
                      <a:pt x="696" y="836"/>
                    </a:cubicBezTo>
                    <a:cubicBezTo>
                      <a:pt x="699" y="834"/>
                      <a:pt x="702" y="834"/>
                      <a:pt x="705" y="834"/>
                    </a:cubicBezTo>
                    <a:cubicBezTo>
                      <a:pt x="720" y="832"/>
                      <a:pt x="733" y="822"/>
                      <a:pt x="739" y="812"/>
                    </a:cubicBezTo>
                    <a:cubicBezTo>
                      <a:pt x="744" y="803"/>
                      <a:pt x="752" y="797"/>
                      <a:pt x="757" y="789"/>
                    </a:cubicBezTo>
                    <a:cubicBezTo>
                      <a:pt x="765" y="777"/>
                      <a:pt x="765" y="767"/>
                      <a:pt x="754" y="764"/>
                    </a:cubicBezTo>
                    <a:cubicBezTo>
                      <a:pt x="738" y="760"/>
                      <a:pt x="732" y="750"/>
                      <a:pt x="728" y="732"/>
                    </a:cubicBezTo>
                    <a:cubicBezTo>
                      <a:pt x="722" y="739"/>
                      <a:pt x="718" y="743"/>
                      <a:pt x="716" y="748"/>
                    </a:cubicBezTo>
                    <a:cubicBezTo>
                      <a:pt x="709" y="762"/>
                      <a:pt x="695" y="755"/>
                      <a:pt x="684" y="757"/>
                    </a:cubicBezTo>
                    <a:cubicBezTo>
                      <a:pt x="679" y="759"/>
                      <a:pt x="684" y="745"/>
                      <a:pt x="681" y="739"/>
                    </a:cubicBezTo>
                    <a:cubicBezTo>
                      <a:pt x="681" y="739"/>
                      <a:pt x="681" y="739"/>
                      <a:pt x="680" y="738"/>
                    </a:cubicBezTo>
                    <a:cubicBezTo>
                      <a:pt x="675" y="733"/>
                      <a:pt x="672" y="750"/>
                      <a:pt x="669" y="741"/>
                    </a:cubicBezTo>
                    <a:cubicBezTo>
                      <a:pt x="665" y="727"/>
                      <a:pt x="653" y="718"/>
                      <a:pt x="649" y="705"/>
                    </a:cubicBezTo>
                    <a:cubicBezTo>
                      <a:pt x="648" y="701"/>
                      <a:pt x="645" y="698"/>
                      <a:pt x="651" y="695"/>
                    </a:cubicBezTo>
                    <a:cubicBezTo>
                      <a:pt x="657" y="692"/>
                      <a:pt x="662" y="688"/>
                      <a:pt x="667" y="694"/>
                    </a:cubicBezTo>
                    <a:cubicBezTo>
                      <a:pt x="670" y="697"/>
                      <a:pt x="674" y="701"/>
                      <a:pt x="676" y="707"/>
                    </a:cubicBezTo>
                    <a:cubicBezTo>
                      <a:pt x="681" y="721"/>
                      <a:pt x="709" y="733"/>
                      <a:pt x="724" y="727"/>
                    </a:cubicBezTo>
                    <a:cubicBezTo>
                      <a:pt x="731" y="725"/>
                      <a:pt x="735" y="725"/>
                      <a:pt x="738" y="733"/>
                    </a:cubicBezTo>
                    <a:cubicBezTo>
                      <a:pt x="740" y="738"/>
                      <a:pt x="743" y="744"/>
                      <a:pt x="750" y="744"/>
                    </a:cubicBezTo>
                    <a:cubicBezTo>
                      <a:pt x="766" y="743"/>
                      <a:pt x="782" y="747"/>
                      <a:pt x="798" y="745"/>
                    </a:cubicBezTo>
                    <a:cubicBezTo>
                      <a:pt x="808" y="743"/>
                      <a:pt x="821" y="740"/>
                      <a:pt x="829" y="745"/>
                    </a:cubicBezTo>
                    <a:cubicBezTo>
                      <a:pt x="842" y="752"/>
                      <a:pt x="851" y="765"/>
                      <a:pt x="862" y="775"/>
                    </a:cubicBezTo>
                    <a:cubicBezTo>
                      <a:pt x="862" y="775"/>
                      <a:pt x="862" y="776"/>
                      <a:pt x="862" y="776"/>
                    </a:cubicBezTo>
                    <a:cubicBezTo>
                      <a:pt x="863" y="791"/>
                      <a:pt x="876" y="798"/>
                      <a:pt x="888" y="791"/>
                    </a:cubicBezTo>
                    <a:cubicBezTo>
                      <a:pt x="890" y="789"/>
                      <a:pt x="890" y="784"/>
                      <a:pt x="894" y="787"/>
                    </a:cubicBezTo>
                    <a:cubicBezTo>
                      <a:pt x="898" y="789"/>
                      <a:pt x="899" y="793"/>
                      <a:pt x="897" y="796"/>
                    </a:cubicBezTo>
                    <a:cubicBezTo>
                      <a:pt x="896" y="799"/>
                      <a:pt x="895" y="802"/>
                      <a:pt x="895" y="805"/>
                    </a:cubicBezTo>
                    <a:cubicBezTo>
                      <a:pt x="903" y="845"/>
                      <a:pt x="919" y="883"/>
                      <a:pt x="936" y="920"/>
                    </a:cubicBezTo>
                    <a:cubicBezTo>
                      <a:pt x="938" y="924"/>
                      <a:pt x="941" y="927"/>
                      <a:pt x="945" y="923"/>
                    </a:cubicBezTo>
                    <a:cubicBezTo>
                      <a:pt x="961" y="909"/>
                      <a:pt x="970" y="890"/>
                      <a:pt x="969" y="869"/>
                    </a:cubicBezTo>
                    <a:cubicBezTo>
                      <a:pt x="969" y="856"/>
                      <a:pt x="972" y="847"/>
                      <a:pt x="983" y="840"/>
                    </a:cubicBezTo>
                    <a:cubicBezTo>
                      <a:pt x="989" y="835"/>
                      <a:pt x="994" y="828"/>
                      <a:pt x="1000" y="824"/>
                    </a:cubicBezTo>
                    <a:cubicBezTo>
                      <a:pt x="1021" y="812"/>
                      <a:pt x="1032" y="786"/>
                      <a:pt x="1059" y="780"/>
                    </a:cubicBezTo>
                    <a:cubicBezTo>
                      <a:pt x="1073" y="776"/>
                      <a:pt x="1079" y="775"/>
                      <a:pt x="1082" y="791"/>
                    </a:cubicBezTo>
                    <a:cubicBezTo>
                      <a:pt x="1082" y="795"/>
                      <a:pt x="1086" y="799"/>
                      <a:pt x="1089" y="801"/>
                    </a:cubicBezTo>
                    <a:cubicBezTo>
                      <a:pt x="1100" y="809"/>
                      <a:pt x="1103" y="820"/>
                      <a:pt x="1102" y="832"/>
                    </a:cubicBezTo>
                    <a:cubicBezTo>
                      <a:pt x="1102" y="836"/>
                      <a:pt x="1099" y="839"/>
                      <a:pt x="1105" y="842"/>
                    </a:cubicBezTo>
                    <a:cubicBezTo>
                      <a:pt x="1110" y="844"/>
                      <a:pt x="1113" y="843"/>
                      <a:pt x="1116" y="839"/>
                    </a:cubicBezTo>
                    <a:cubicBezTo>
                      <a:pt x="1119" y="836"/>
                      <a:pt x="1122" y="832"/>
                      <a:pt x="1126" y="835"/>
                    </a:cubicBezTo>
                    <a:cubicBezTo>
                      <a:pt x="1130" y="837"/>
                      <a:pt x="1132" y="841"/>
                      <a:pt x="1132" y="846"/>
                    </a:cubicBezTo>
                    <a:cubicBezTo>
                      <a:pt x="1132" y="852"/>
                      <a:pt x="1131" y="859"/>
                      <a:pt x="1135" y="865"/>
                    </a:cubicBezTo>
                    <a:cubicBezTo>
                      <a:pt x="1141" y="877"/>
                      <a:pt x="1142" y="889"/>
                      <a:pt x="1139" y="902"/>
                    </a:cubicBezTo>
                    <a:cubicBezTo>
                      <a:pt x="1137" y="913"/>
                      <a:pt x="1136" y="923"/>
                      <a:pt x="1148" y="930"/>
                    </a:cubicBezTo>
                    <a:cubicBezTo>
                      <a:pt x="1153" y="934"/>
                      <a:pt x="1155" y="940"/>
                      <a:pt x="1157" y="947"/>
                    </a:cubicBezTo>
                    <a:cubicBezTo>
                      <a:pt x="1160" y="962"/>
                      <a:pt x="1164" y="978"/>
                      <a:pt x="1181" y="985"/>
                    </a:cubicBezTo>
                    <a:cubicBezTo>
                      <a:pt x="1185" y="987"/>
                      <a:pt x="1189" y="993"/>
                      <a:pt x="1194" y="989"/>
                    </a:cubicBezTo>
                    <a:cubicBezTo>
                      <a:pt x="1198" y="984"/>
                      <a:pt x="1192" y="981"/>
                      <a:pt x="1190" y="977"/>
                    </a:cubicBezTo>
                    <a:cubicBezTo>
                      <a:pt x="1189" y="976"/>
                      <a:pt x="1189" y="973"/>
                      <a:pt x="1189" y="971"/>
                    </a:cubicBezTo>
                    <a:cubicBezTo>
                      <a:pt x="1192" y="953"/>
                      <a:pt x="1179" y="945"/>
                      <a:pt x="1166" y="936"/>
                    </a:cubicBezTo>
                    <a:cubicBezTo>
                      <a:pt x="1156" y="928"/>
                      <a:pt x="1149" y="915"/>
                      <a:pt x="1148" y="903"/>
                    </a:cubicBezTo>
                    <a:cubicBezTo>
                      <a:pt x="1147" y="892"/>
                      <a:pt x="1154" y="881"/>
                      <a:pt x="1158" y="869"/>
                    </a:cubicBezTo>
                    <a:cubicBezTo>
                      <a:pt x="1177" y="881"/>
                      <a:pt x="1195" y="893"/>
                      <a:pt x="1203" y="914"/>
                    </a:cubicBezTo>
                    <a:cubicBezTo>
                      <a:pt x="1205" y="918"/>
                      <a:pt x="1209" y="916"/>
                      <a:pt x="1210" y="913"/>
                    </a:cubicBezTo>
                    <a:cubicBezTo>
                      <a:pt x="1218" y="904"/>
                      <a:pt x="1229" y="900"/>
                      <a:pt x="1239" y="894"/>
                    </a:cubicBezTo>
                    <a:cubicBezTo>
                      <a:pt x="1242" y="893"/>
                      <a:pt x="1245" y="892"/>
                      <a:pt x="1246" y="889"/>
                    </a:cubicBezTo>
                    <a:cubicBezTo>
                      <a:pt x="1251" y="873"/>
                      <a:pt x="1244" y="850"/>
                      <a:pt x="1230" y="838"/>
                    </a:cubicBezTo>
                    <a:cubicBezTo>
                      <a:pt x="1208" y="820"/>
                      <a:pt x="1209" y="803"/>
                      <a:pt x="1231" y="789"/>
                    </a:cubicBezTo>
                    <a:cubicBezTo>
                      <a:pt x="1238" y="784"/>
                      <a:pt x="1250" y="784"/>
                      <a:pt x="1251" y="788"/>
                    </a:cubicBezTo>
                    <a:cubicBezTo>
                      <a:pt x="1254" y="802"/>
                      <a:pt x="1259" y="791"/>
                      <a:pt x="1263" y="790"/>
                    </a:cubicBezTo>
                    <a:cubicBezTo>
                      <a:pt x="1277" y="784"/>
                      <a:pt x="1289" y="775"/>
                      <a:pt x="1306" y="773"/>
                    </a:cubicBezTo>
                    <a:cubicBezTo>
                      <a:pt x="1326" y="772"/>
                      <a:pt x="1340" y="756"/>
                      <a:pt x="1350" y="741"/>
                    </a:cubicBezTo>
                    <a:cubicBezTo>
                      <a:pt x="1356" y="732"/>
                      <a:pt x="1361" y="722"/>
                      <a:pt x="1368" y="714"/>
                    </a:cubicBezTo>
                    <a:cubicBezTo>
                      <a:pt x="1374" y="709"/>
                      <a:pt x="1373" y="702"/>
                      <a:pt x="1373" y="696"/>
                    </a:cubicBezTo>
                    <a:cubicBezTo>
                      <a:pt x="1373" y="693"/>
                      <a:pt x="1367" y="694"/>
                      <a:pt x="1369" y="690"/>
                    </a:cubicBezTo>
                    <a:cubicBezTo>
                      <a:pt x="1374" y="682"/>
                      <a:pt x="1370" y="674"/>
                      <a:pt x="1368" y="667"/>
                    </a:cubicBezTo>
                    <a:cubicBezTo>
                      <a:pt x="1365" y="659"/>
                      <a:pt x="1360" y="649"/>
                      <a:pt x="1352" y="643"/>
                    </a:cubicBezTo>
                    <a:cubicBezTo>
                      <a:pt x="1346" y="639"/>
                      <a:pt x="1349" y="638"/>
                      <a:pt x="1352" y="634"/>
                    </a:cubicBezTo>
                    <a:cubicBezTo>
                      <a:pt x="1360" y="625"/>
                      <a:pt x="1370" y="619"/>
                      <a:pt x="1381" y="614"/>
                    </a:cubicBezTo>
                    <a:cubicBezTo>
                      <a:pt x="1372" y="617"/>
                      <a:pt x="1367" y="602"/>
                      <a:pt x="1358" y="610"/>
                    </a:cubicBezTo>
                    <a:cubicBezTo>
                      <a:pt x="1352" y="615"/>
                      <a:pt x="1348" y="616"/>
                      <a:pt x="1345" y="607"/>
                    </a:cubicBezTo>
                    <a:cubicBezTo>
                      <a:pt x="1343" y="601"/>
                      <a:pt x="1333" y="605"/>
                      <a:pt x="1331" y="598"/>
                    </a:cubicBezTo>
                    <a:cubicBezTo>
                      <a:pt x="1330" y="596"/>
                      <a:pt x="1331" y="595"/>
                      <a:pt x="1333" y="594"/>
                    </a:cubicBezTo>
                    <a:cubicBezTo>
                      <a:pt x="1348" y="592"/>
                      <a:pt x="1357" y="580"/>
                      <a:pt x="1369" y="573"/>
                    </a:cubicBezTo>
                    <a:cubicBezTo>
                      <a:pt x="1372" y="570"/>
                      <a:pt x="1374" y="570"/>
                      <a:pt x="1376" y="573"/>
                    </a:cubicBezTo>
                    <a:cubicBezTo>
                      <a:pt x="1378" y="575"/>
                      <a:pt x="1378" y="577"/>
                      <a:pt x="1376" y="579"/>
                    </a:cubicBezTo>
                    <a:cubicBezTo>
                      <a:pt x="1372" y="583"/>
                      <a:pt x="1364" y="587"/>
                      <a:pt x="1371" y="593"/>
                    </a:cubicBezTo>
                    <a:cubicBezTo>
                      <a:pt x="1377" y="598"/>
                      <a:pt x="1381" y="589"/>
                      <a:pt x="1386" y="587"/>
                    </a:cubicBezTo>
                    <a:cubicBezTo>
                      <a:pt x="1388" y="587"/>
                      <a:pt x="1391" y="585"/>
                      <a:pt x="1392" y="584"/>
                    </a:cubicBezTo>
                    <a:cubicBezTo>
                      <a:pt x="1397" y="581"/>
                      <a:pt x="1400" y="582"/>
                      <a:pt x="1404" y="586"/>
                    </a:cubicBezTo>
                    <a:cubicBezTo>
                      <a:pt x="1408" y="589"/>
                      <a:pt x="1409" y="592"/>
                      <a:pt x="1406" y="597"/>
                    </a:cubicBezTo>
                    <a:cubicBezTo>
                      <a:pt x="1400" y="605"/>
                      <a:pt x="1404" y="607"/>
                      <a:pt x="1413" y="607"/>
                    </a:cubicBezTo>
                    <a:cubicBezTo>
                      <a:pt x="1420" y="606"/>
                      <a:pt x="1426" y="613"/>
                      <a:pt x="1424" y="618"/>
                    </a:cubicBezTo>
                    <a:cubicBezTo>
                      <a:pt x="1420" y="625"/>
                      <a:pt x="1420" y="633"/>
                      <a:pt x="1420" y="642"/>
                    </a:cubicBezTo>
                    <a:cubicBezTo>
                      <a:pt x="1420" y="644"/>
                      <a:pt x="1421" y="647"/>
                      <a:pt x="1425" y="647"/>
                    </a:cubicBezTo>
                    <a:cubicBezTo>
                      <a:pt x="1450" y="642"/>
                      <a:pt x="1458" y="621"/>
                      <a:pt x="1443" y="601"/>
                    </a:cubicBezTo>
                    <a:cubicBezTo>
                      <a:pt x="1440" y="598"/>
                      <a:pt x="1437" y="595"/>
                      <a:pt x="1435" y="592"/>
                    </a:cubicBezTo>
                    <a:cubicBezTo>
                      <a:pt x="1431" y="588"/>
                      <a:pt x="1429" y="585"/>
                      <a:pt x="1437" y="582"/>
                    </a:cubicBezTo>
                    <a:cubicBezTo>
                      <a:pt x="1446" y="578"/>
                      <a:pt x="1452" y="571"/>
                      <a:pt x="1456" y="561"/>
                    </a:cubicBezTo>
                    <a:cubicBezTo>
                      <a:pt x="1460" y="550"/>
                      <a:pt x="1470" y="543"/>
                      <a:pt x="1483" y="546"/>
                    </a:cubicBezTo>
                    <a:cubicBezTo>
                      <a:pt x="1490" y="548"/>
                      <a:pt x="1495" y="546"/>
                      <a:pt x="1501" y="543"/>
                    </a:cubicBezTo>
                    <a:cubicBezTo>
                      <a:pt x="1524" y="528"/>
                      <a:pt x="1536" y="504"/>
                      <a:pt x="1552" y="483"/>
                    </a:cubicBezTo>
                    <a:cubicBezTo>
                      <a:pt x="1565" y="466"/>
                      <a:pt x="1563" y="444"/>
                      <a:pt x="1569" y="425"/>
                    </a:cubicBezTo>
                    <a:cubicBezTo>
                      <a:pt x="1574" y="410"/>
                      <a:pt x="1557" y="396"/>
                      <a:pt x="1545" y="404"/>
                    </a:cubicBezTo>
                    <a:cubicBezTo>
                      <a:pt x="1536" y="410"/>
                      <a:pt x="1530" y="405"/>
                      <a:pt x="1527" y="402"/>
                    </a:cubicBezTo>
                    <a:cubicBezTo>
                      <a:pt x="1522" y="397"/>
                      <a:pt x="1515" y="397"/>
                      <a:pt x="1510" y="392"/>
                    </a:cubicBezTo>
                    <a:cubicBezTo>
                      <a:pt x="1533" y="373"/>
                      <a:pt x="1556" y="353"/>
                      <a:pt x="1579" y="334"/>
                    </a:cubicBezTo>
                    <a:cubicBezTo>
                      <a:pt x="1587" y="328"/>
                      <a:pt x="1597" y="320"/>
                      <a:pt x="1607" y="325"/>
                    </a:cubicBezTo>
                    <a:cubicBezTo>
                      <a:pt x="1622" y="332"/>
                      <a:pt x="1634" y="330"/>
                      <a:pt x="1649" y="326"/>
                    </a:cubicBezTo>
                    <a:cubicBezTo>
                      <a:pt x="1658" y="323"/>
                      <a:pt x="1669" y="317"/>
                      <a:pt x="1677" y="332"/>
                    </a:cubicBezTo>
                    <a:cubicBezTo>
                      <a:pt x="1683" y="343"/>
                      <a:pt x="1692" y="326"/>
                      <a:pt x="1700" y="330"/>
                    </a:cubicBezTo>
                    <a:cubicBezTo>
                      <a:pt x="1702" y="331"/>
                      <a:pt x="1703" y="329"/>
                      <a:pt x="1703" y="326"/>
                    </a:cubicBezTo>
                    <a:cubicBezTo>
                      <a:pt x="1705" y="310"/>
                      <a:pt x="1736" y="287"/>
                      <a:pt x="1752" y="289"/>
                    </a:cubicBezTo>
                    <a:cubicBezTo>
                      <a:pt x="1751" y="294"/>
                      <a:pt x="1769" y="283"/>
                      <a:pt x="1758" y="296"/>
                    </a:cubicBezTo>
                    <a:cubicBezTo>
                      <a:pt x="1756" y="300"/>
                      <a:pt x="1760" y="301"/>
                      <a:pt x="1762" y="304"/>
                    </a:cubicBezTo>
                    <a:cubicBezTo>
                      <a:pt x="1764" y="307"/>
                      <a:pt x="1767" y="306"/>
                      <a:pt x="1769" y="304"/>
                    </a:cubicBezTo>
                    <a:cubicBezTo>
                      <a:pt x="1776" y="295"/>
                      <a:pt x="1790" y="296"/>
                      <a:pt x="1793" y="282"/>
                    </a:cubicBezTo>
                    <a:cubicBezTo>
                      <a:pt x="1795" y="274"/>
                      <a:pt x="1803" y="273"/>
                      <a:pt x="1809" y="280"/>
                    </a:cubicBezTo>
                    <a:cubicBezTo>
                      <a:pt x="1807" y="284"/>
                      <a:pt x="1801" y="280"/>
                      <a:pt x="1801" y="284"/>
                    </a:cubicBezTo>
                    <a:cubicBezTo>
                      <a:pt x="1800" y="299"/>
                      <a:pt x="1790" y="304"/>
                      <a:pt x="1780" y="311"/>
                    </a:cubicBezTo>
                    <a:cubicBezTo>
                      <a:pt x="1762" y="323"/>
                      <a:pt x="1752" y="344"/>
                      <a:pt x="1730" y="350"/>
                    </a:cubicBezTo>
                    <a:cubicBezTo>
                      <a:pt x="1729" y="350"/>
                      <a:pt x="1727" y="351"/>
                      <a:pt x="1727" y="353"/>
                    </a:cubicBezTo>
                    <a:cubicBezTo>
                      <a:pt x="1720" y="370"/>
                      <a:pt x="1709" y="386"/>
                      <a:pt x="1716" y="406"/>
                    </a:cubicBezTo>
                    <a:cubicBezTo>
                      <a:pt x="1718" y="414"/>
                      <a:pt x="1721" y="423"/>
                      <a:pt x="1723" y="431"/>
                    </a:cubicBezTo>
                    <a:cubicBezTo>
                      <a:pt x="1724" y="436"/>
                      <a:pt x="1723" y="443"/>
                      <a:pt x="1727" y="443"/>
                    </a:cubicBezTo>
                    <a:cubicBezTo>
                      <a:pt x="1732" y="443"/>
                      <a:pt x="1738" y="439"/>
                      <a:pt x="1739" y="433"/>
                    </a:cubicBezTo>
                    <a:cubicBezTo>
                      <a:pt x="1742" y="421"/>
                      <a:pt x="1752" y="413"/>
                      <a:pt x="1759" y="404"/>
                    </a:cubicBezTo>
                    <a:cubicBezTo>
                      <a:pt x="1767" y="395"/>
                      <a:pt x="1780" y="389"/>
                      <a:pt x="1783" y="375"/>
                    </a:cubicBezTo>
                    <a:cubicBezTo>
                      <a:pt x="1783" y="371"/>
                      <a:pt x="1789" y="373"/>
                      <a:pt x="1791" y="370"/>
                    </a:cubicBezTo>
                    <a:cubicBezTo>
                      <a:pt x="1780" y="366"/>
                      <a:pt x="1796" y="350"/>
                      <a:pt x="1780" y="348"/>
                    </a:cubicBezTo>
                    <a:cubicBezTo>
                      <a:pt x="1779" y="348"/>
                      <a:pt x="1778" y="346"/>
                      <a:pt x="1778" y="344"/>
                    </a:cubicBezTo>
                    <a:cubicBezTo>
                      <a:pt x="1778" y="341"/>
                      <a:pt x="1798" y="318"/>
                      <a:pt x="1801" y="318"/>
                    </a:cubicBezTo>
                    <a:cubicBezTo>
                      <a:pt x="1810" y="319"/>
                      <a:pt x="1818" y="306"/>
                      <a:pt x="1826" y="317"/>
                    </a:cubicBezTo>
                    <a:cubicBezTo>
                      <a:pt x="1831" y="308"/>
                      <a:pt x="1844" y="309"/>
                      <a:pt x="1847" y="311"/>
                    </a:cubicBezTo>
                    <a:cubicBezTo>
                      <a:pt x="1865" y="322"/>
                      <a:pt x="1874" y="306"/>
                      <a:pt x="1886" y="300"/>
                    </a:cubicBezTo>
                    <a:cubicBezTo>
                      <a:pt x="1891" y="298"/>
                      <a:pt x="1895" y="294"/>
                      <a:pt x="1900" y="293"/>
                    </a:cubicBezTo>
                    <a:cubicBezTo>
                      <a:pt x="1916" y="289"/>
                      <a:pt x="1927" y="274"/>
                      <a:pt x="1946" y="281"/>
                    </a:cubicBezTo>
                    <a:cubicBezTo>
                      <a:pt x="1956" y="285"/>
                      <a:pt x="1954" y="276"/>
                      <a:pt x="1953" y="270"/>
                    </a:cubicBezTo>
                    <a:cubicBezTo>
                      <a:pt x="1949" y="255"/>
                      <a:pt x="1936" y="249"/>
                      <a:pt x="1923" y="242"/>
                    </a:cubicBezTo>
                    <a:cubicBezTo>
                      <a:pt x="1929" y="240"/>
                      <a:pt x="1932" y="240"/>
                      <a:pt x="1937" y="244"/>
                    </a:cubicBezTo>
                    <a:cubicBezTo>
                      <a:pt x="1948" y="252"/>
                      <a:pt x="1966" y="241"/>
                      <a:pt x="1964" y="228"/>
                    </a:cubicBezTo>
                    <a:cubicBezTo>
                      <a:pt x="1963" y="222"/>
                      <a:pt x="1966" y="220"/>
                      <a:pt x="1970" y="220"/>
                    </a:cubicBezTo>
                    <a:cubicBezTo>
                      <a:pt x="1976" y="218"/>
                      <a:pt x="1972" y="223"/>
                      <a:pt x="1973" y="225"/>
                    </a:cubicBezTo>
                    <a:cubicBezTo>
                      <a:pt x="1974" y="230"/>
                      <a:pt x="1977" y="234"/>
                      <a:pt x="1983" y="232"/>
                    </a:cubicBezTo>
                    <a:cubicBezTo>
                      <a:pt x="1993" y="230"/>
                      <a:pt x="1999" y="233"/>
                      <a:pt x="2005" y="240"/>
                    </a:cubicBezTo>
                    <a:cubicBezTo>
                      <a:pt x="2011" y="247"/>
                      <a:pt x="2019" y="252"/>
                      <a:pt x="2028" y="251"/>
                    </a:cubicBezTo>
                    <a:cubicBezTo>
                      <a:pt x="2036" y="250"/>
                      <a:pt x="2039" y="243"/>
                      <a:pt x="2038" y="234"/>
                    </a:cubicBezTo>
                    <a:cubicBezTo>
                      <a:pt x="2038" y="230"/>
                      <a:pt x="2044" y="233"/>
                      <a:pt x="2044" y="232"/>
                    </a:cubicBezTo>
                    <a:cubicBezTo>
                      <a:pt x="2047" y="225"/>
                      <a:pt x="2059" y="232"/>
                      <a:pt x="2059" y="223"/>
                    </a:cubicBezTo>
                    <a:close/>
                    <a:moveTo>
                      <a:pt x="704" y="589"/>
                    </a:moveTo>
                    <a:cubicBezTo>
                      <a:pt x="709" y="597"/>
                      <a:pt x="708" y="608"/>
                      <a:pt x="704" y="616"/>
                    </a:cubicBezTo>
                    <a:cubicBezTo>
                      <a:pt x="702" y="620"/>
                      <a:pt x="690" y="620"/>
                      <a:pt x="683" y="619"/>
                    </a:cubicBezTo>
                    <a:cubicBezTo>
                      <a:pt x="676" y="617"/>
                      <a:pt x="669" y="613"/>
                      <a:pt x="663" y="609"/>
                    </a:cubicBezTo>
                    <a:cubicBezTo>
                      <a:pt x="657" y="604"/>
                      <a:pt x="650" y="599"/>
                      <a:pt x="658" y="590"/>
                    </a:cubicBezTo>
                    <a:cubicBezTo>
                      <a:pt x="670" y="575"/>
                      <a:pt x="656" y="564"/>
                      <a:pt x="649" y="553"/>
                    </a:cubicBezTo>
                    <a:cubicBezTo>
                      <a:pt x="644" y="544"/>
                      <a:pt x="638" y="537"/>
                      <a:pt x="643" y="526"/>
                    </a:cubicBezTo>
                    <a:cubicBezTo>
                      <a:pt x="649" y="512"/>
                      <a:pt x="657" y="500"/>
                      <a:pt x="674" y="498"/>
                    </a:cubicBezTo>
                    <a:cubicBezTo>
                      <a:pt x="680" y="497"/>
                      <a:pt x="686" y="498"/>
                      <a:pt x="692" y="498"/>
                    </a:cubicBezTo>
                    <a:cubicBezTo>
                      <a:pt x="698" y="497"/>
                      <a:pt x="700" y="501"/>
                      <a:pt x="700" y="507"/>
                    </a:cubicBezTo>
                    <a:cubicBezTo>
                      <a:pt x="700" y="513"/>
                      <a:pt x="698" y="518"/>
                      <a:pt x="692" y="516"/>
                    </a:cubicBezTo>
                    <a:cubicBezTo>
                      <a:pt x="681" y="512"/>
                      <a:pt x="678" y="522"/>
                      <a:pt x="672" y="526"/>
                    </a:cubicBezTo>
                    <a:cubicBezTo>
                      <a:pt x="678" y="532"/>
                      <a:pt x="675" y="545"/>
                      <a:pt x="687" y="546"/>
                    </a:cubicBezTo>
                    <a:cubicBezTo>
                      <a:pt x="688" y="546"/>
                      <a:pt x="690" y="547"/>
                      <a:pt x="690" y="547"/>
                    </a:cubicBezTo>
                    <a:cubicBezTo>
                      <a:pt x="691" y="560"/>
                      <a:pt x="707" y="558"/>
                      <a:pt x="713" y="569"/>
                    </a:cubicBezTo>
                    <a:cubicBezTo>
                      <a:pt x="693" y="572"/>
                      <a:pt x="693" y="572"/>
                      <a:pt x="704" y="58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4">
                <a:extLst>
                  <a:ext uri="{FF2B5EF4-FFF2-40B4-BE49-F238E27FC236}">
                    <a16:creationId xmlns:a16="http://schemas.microsoft.com/office/drawing/2014/main" id="{4816EF47-A7C9-7DA9-281D-70A236E872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23547" y="1810576"/>
                <a:ext cx="3182947" cy="3735447"/>
              </a:xfrm>
              <a:custGeom>
                <a:avLst/>
                <a:gdLst>
                  <a:gd name="T0" fmla="*/ 1175 w 1335"/>
                  <a:gd name="T1" fmla="*/ 940 h 1566"/>
                  <a:gd name="T2" fmla="*/ 1056 w 1335"/>
                  <a:gd name="T3" fmla="*/ 840 h 1566"/>
                  <a:gd name="T4" fmla="*/ 910 w 1335"/>
                  <a:gd name="T5" fmla="*/ 859 h 1566"/>
                  <a:gd name="T6" fmla="*/ 797 w 1335"/>
                  <a:gd name="T7" fmla="*/ 770 h 1566"/>
                  <a:gd name="T8" fmla="*/ 706 w 1335"/>
                  <a:gd name="T9" fmla="*/ 720 h 1566"/>
                  <a:gd name="T10" fmla="*/ 778 w 1335"/>
                  <a:gd name="T11" fmla="*/ 636 h 1566"/>
                  <a:gd name="T12" fmla="*/ 880 w 1335"/>
                  <a:gd name="T13" fmla="*/ 669 h 1566"/>
                  <a:gd name="T14" fmla="*/ 924 w 1335"/>
                  <a:gd name="T15" fmla="*/ 540 h 1566"/>
                  <a:gd name="T16" fmla="*/ 1051 w 1335"/>
                  <a:gd name="T17" fmla="*/ 459 h 1566"/>
                  <a:gd name="T18" fmla="*/ 1030 w 1335"/>
                  <a:gd name="T19" fmla="*/ 404 h 1566"/>
                  <a:gd name="T20" fmla="*/ 1151 w 1335"/>
                  <a:gd name="T21" fmla="*/ 422 h 1566"/>
                  <a:gd name="T22" fmla="*/ 1098 w 1335"/>
                  <a:gd name="T23" fmla="*/ 319 h 1566"/>
                  <a:gd name="T24" fmla="*/ 983 w 1335"/>
                  <a:gd name="T25" fmla="*/ 246 h 1566"/>
                  <a:gd name="T26" fmla="*/ 895 w 1335"/>
                  <a:gd name="T27" fmla="*/ 273 h 1566"/>
                  <a:gd name="T28" fmla="*/ 856 w 1335"/>
                  <a:gd name="T29" fmla="*/ 345 h 1566"/>
                  <a:gd name="T30" fmla="*/ 767 w 1335"/>
                  <a:gd name="T31" fmla="*/ 209 h 1566"/>
                  <a:gd name="T32" fmla="*/ 869 w 1335"/>
                  <a:gd name="T33" fmla="*/ 195 h 1566"/>
                  <a:gd name="T34" fmla="*/ 905 w 1335"/>
                  <a:gd name="T35" fmla="*/ 88 h 1566"/>
                  <a:gd name="T36" fmla="*/ 921 w 1335"/>
                  <a:gd name="T37" fmla="*/ 168 h 1566"/>
                  <a:gd name="T38" fmla="*/ 1015 w 1335"/>
                  <a:gd name="T39" fmla="*/ 215 h 1566"/>
                  <a:gd name="T40" fmla="*/ 1042 w 1335"/>
                  <a:gd name="T41" fmla="*/ 170 h 1566"/>
                  <a:gd name="T42" fmla="*/ 942 w 1335"/>
                  <a:gd name="T43" fmla="*/ 58 h 1566"/>
                  <a:gd name="T44" fmla="*/ 823 w 1335"/>
                  <a:gd name="T45" fmla="*/ 58 h 1566"/>
                  <a:gd name="T46" fmla="*/ 841 w 1335"/>
                  <a:gd name="T47" fmla="*/ 87 h 1566"/>
                  <a:gd name="T48" fmla="*/ 734 w 1335"/>
                  <a:gd name="T49" fmla="*/ 53 h 1566"/>
                  <a:gd name="T50" fmla="*/ 725 w 1335"/>
                  <a:gd name="T51" fmla="*/ 37 h 1566"/>
                  <a:gd name="T52" fmla="*/ 595 w 1335"/>
                  <a:gd name="T53" fmla="*/ 119 h 1566"/>
                  <a:gd name="T54" fmla="*/ 539 w 1335"/>
                  <a:gd name="T55" fmla="*/ 102 h 1566"/>
                  <a:gd name="T56" fmla="*/ 625 w 1335"/>
                  <a:gd name="T57" fmla="*/ 18 h 1566"/>
                  <a:gd name="T58" fmla="*/ 546 w 1335"/>
                  <a:gd name="T59" fmla="*/ 40 h 1566"/>
                  <a:gd name="T60" fmla="*/ 436 w 1335"/>
                  <a:gd name="T61" fmla="*/ 25 h 1566"/>
                  <a:gd name="T62" fmla="*/ 508 w 1335"/>
                  <a:gd name="T63" fmla="*/ 89 h 1566"/>
                  <a:gd name="T64" fmla="*/ 395 w 1335"/>
                  <a:gd name="T65" fmla="*/ 84 h 1566"/>
                  <a:gd name="T66" fmla="*/ 274 w 1335"/>
                  <a:gd name="T67" fmla="*/ 91 h 1566"/>
                  <a:gd name="T68" fmla="*/ 58 w 1335"/>
                  <a:gd name="T69" fmla="*/ 85 h 1566"/>
                  <a:gd name="T70" fmla="*/ 6 w 1335"/>
                  <a:gd name="T71" fmla="*/ 171 h 1566"/>
                  <a:gd name="T72" fmla="*/ 27 w 1335"/>
                  <a:gd name="T73" fmla="*/ 245 h 1566"/>
                  <a:gd name="T74" fmla="*/ 82 w 1335"/>
                  <a:gd name="T75" fmla="*/ 302 h 1566"/>
                  <a:gd name="T76" fmla="*/ 130 w 1335"/>
                  <a:gd name="T77" fmla="*/ 292 h 1566"/>
                  <a:gd name="T78" fmla="*/ 164 w 1335"/>
                  <a:gd name="T79" fmla="*/ 264 h 1566"/>
                  <a:gd name="T80" fmla="*/ 292 w 1335"/>
                  <a:gd name="T81" fmla="*/ 270 h 1566"/>
                  <a:gd name="T82" fmla="*/ 370 w 1335"/>
                  <a:gd name="T83" fmla="*/ 330 h 1566"/>
                  <a:gd name="T84" fmla="*/ 462 w 1335"/>
                  <a:gd name="T85" fmla="*/ 561 h 1566"/>
                  <a:gd name="T86" fmla="*/ 582 w 1335"/>
                  <a:gd name="T87" fmla="*/ 694 h 1566"/>
                  <a:gd name="T88" fmla="*/ 659 w 1335"/>
                  <a:gd name="T89" fmla="*/ 763 h 1566"/>
                  <a:gd name="T90" fmla="*/ 804 w 1335"/>
                  <a:gd name="T91" fmla="*/ 817 h 1566"/>
                  <a:gd name="T92" fmla="*/ 925 w 1335"/>
                  <a:gd name="T93" fmla="*/ 950 h 1566"/>
                  <a:gd name="T94" fmla="*/ 948 w 1335"/>
                  <a:gd name="T95" fmla="*/ 1107 h 1566"/>
                  <a:gd name="T96" fmla="*/ 947 w 1335"/>
                  <a:gd name="T97" fmla="*/ 1386 h 1566"/>
                  <a:gd name="T98" fmla="*/ 931 w 1335"/>
                  <a:gd name="T99" fmla="*/ 1479 h 1566"/>
                  <a:gd name="T100" fmla="*/ 947 w 1335"/>
                  <a:gd name="T101" fmla="*/ 1532 h 1566"/>
                  <a:gd name="T102" fmla="*/ 984 w 1335"/>
                  <a:gd name="T103" fmla="*/ 1562 h 1566"/>
                  <a:gd name="T104" fmla="*/ 1027 w 1335"/>
                  <a:gd name="T105" fmla="*/ 1382 h 1566"/>
                  <a:gd name="T106" fmla="*/ 1169 w 1335"/>
                  <a:gd name="T107" fmla="*/ 1254 h 1566"/>
                  <a:gd name="T108" fmla="*/ 1306 w 1335"/>
                  <a:gd name="T109" fmla="*/ 1061 h 1566"/>
                  <a:gd name="T110" fmla="*/ 720 w 1335"/>
                  <a:gd name="T111" fmla="*/ 125 h 1566"/>
                  <a:gd name="T112" fmla="*/ 548 w 1335"/>
                  <a:gd name="T113" fmla="*/ 619 h 1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35" h="1566">
                    <a:moveTo>
                      <a:pt x="1314" y="992"/>
                    </a:moveTo>
                    <a:cubicBezTo>
                      <a:pt x="1312" y="992"/>
                      <a:pt x="1309" y="989"/>
                      <a:pt x="1307" y="987"/>
                    </a:cubicBezTo>
                    <a:cubicBezTo>
                      <a:pt x="1291" y="969"/>
                      <a:pt x="1270" y="967"/>
                      <a:pt x="1247" y="969"/>
                    </a:cubicBezTo>
                    <a:cubicBezTo>
                      <a:pt x="1244" y="969"/>
                      <a:pt x="1239" y="971"/>
                      <a:pt x="1238" y="967"/>
                    </a:cubicBezTo>
                    <a:cubicBezTo>
                      <a:pt x="1236" y="953"/>
                      <a:pt x="1224" y="954"/>
                      <a:pt x="1214" y="950"/>
                    </a:cubicBezTo>
                    <a:cubicBezTo>
                      <a:pt x="1208" y="948"/>
                      <a:pt x="1202" y="944"/>
                      <a:pt x="1200" y="955"/>
                    </a:cubicBezTo>
                    <a:cubicBezTo>
                      <a:pt x="1200" y="957"/>
                      <a:pt x="1197" y="957"/>
                      <a:pt x="1195" y="957"/>
                    </a:cubicBezTo>
                    <a:cubicBezTo>
                      <a:pt x="1194" y="957"/>
                      <a:pt x="1192" y="956"/>
                      <a:pt x="1193" y="954"/>
                    </a:cubicBezTo>
                    <a:cubicBezTo>
                      <a:pt x="1198" y="935"/>
                      <a:pt x="1181" y="946"/>
                      <a:pt x="1175" y="940"/>
                    </a:cubicBezTo>
                    <a:cubicBezTo>
                      <a:pt x="1183" y="933"/>
                      <a:pt x="1186" y="926"/>
                      <a:pt x="1175" y="919"/>
                    </a:cubicBezTo>
                    <a:cubicBezTo>
                      <a:pt x="1173" y="918"/>
                      <a:pt x="1171" y="914"/>
                      <a:pt x="1171" y="911"/>
                    </a:cubicBezTo>
                    <a:cubicBezTo>
                      <a:pt x="1170" y="896"/>
                      <a:pt x="1158" y="890"/>
                      <a:pt x="1146" y="885"/>
                    </a:cubicBezTo>
                    <a:cubicBezTo>
                      <a:pt x="1136" y="881"/>
                      <a:pt x="1126" y="879"/>
                      <a:pt x="1115" y="879"/>
                    </a:cubicBezTo>
                    <a:cubicBezTo>
                      <a:pt x="1106" y="879"/>
                      <a:pt x="1099" y="875"/>
                      <a:pt x="1097" y="869"/>
                    </a:cubicBezTo>
                    <a:cubicBezTo>
                      <a:pt x="1095" y="861"/>
                      <a:pt x="1087" y="858"/>
                      <a:pt x="1083" y="857"/>
                    </a:cubicBezTo>
                    <a:cubicBezTo>
                      <a:pt x="1069" y="856"/>
                      <a:pt x="1068" y="848"/>
                      <a:pt x="1069" y="837"/>
                    </a:cubicBezTo>
                    <a:cubicBezTo>
                      <a:pt x="1069" y="835"/>
                      <a:pt x="1068" y="834"/>
                      <a:pt x="1068" y="834"/>
                    </a:cubicBezTo>
                    <a:cubicBezTo>
                      <a:pt x="1061" y="834"/>
                      <a:pt x="1063" y="850"/>
                      <a:pt x="1056" y="840"/>
                    </a:cubicBezTo>
                    <a:cubicBezTo>
                      <a:pt x="1051" y="833"/>
                      <a:pt x="1047" y="834"/>
                      <a:pt x="1041" y="837"/>
                    </a:cubicBezTo>
                    <a:cubicBezTo>
                      <a:pt x="1029" y="844"/>
                      <a:pt x="1016" y="832"/>
                      <a:pt x="1004" y="837"/>
                    </a:cubicBezTo>
                    <a:cubicBezTo>
                      <a:pt x="1001" y="838"/>
                      <a:pt x="998" y="835"/>
                      <a:pt x="998" y="833"/>
                    </a:cubicBezTo>
                    <a:cubicBezTo>
                      <a:pt x="997" y="821"/>
                      <a:pt x="986" y="822"/>
                      <a:pt x="982" y="823"/>
                    </a:cubicBezTo>
                    <a:cubicBezTo>
                      <a:pt x="973" y="825"/>
                      <a:pt x="963" y="830"/>
                      <a:pt x="968" y="843"/>
                    </a:cubicBezTo>
                    <a:cubicBezTo>
                      <a:pt x="969" y="846"/>
                      <a:pt x="967" y="848"/>
                      <a:pt x="965" y="848"/>
                    </a:cubicBezTo>
                    <a:cubicBezTo>
                      <a:pt x="962" y="849"/>
                      <a:pt x="961" y="847"/>
                      <a:pt x="960" y="844"/>
                    </a:cubicBezTo>
                    <a:cubicBezTo>
                      <a:pt x="960" y="836"/>
                      <a:pt x="960" y="827"/>
                      <a:pt x="969" y="818"/>
                    </a:cubicBezTo>
                    <a:cubicBezTo>
                      <a:pt x="940" y="823"/>
                      <a:pt x="922" y="838"/>
                      <a:pt x="910" y="859"/>
                    </a:cubicBezTo>
                    <a:cubicBezTo>
                      <a:pt x="900" y="851"/>
                      <a:pt x="892" y="839"/>
                      <a:pt x="880" y="846"/>
                    </a:cubicBezTo>
                    <a:cubicBezTo>
                      <a:pt x="871" y="851"/>
                      <a:pt x="867" y="849"/>
                      <a:pt x="860" y="844"/>
                    </a:cubicBezTo>
                    <a:cubicBezTo>
                      <a:pt x="845" y="832"/>
                      <a:pt x="840" y="819"/>
                      <a:pt x="849" y="801"/>
                    </a:cubicBezTo>
                    <a:cubicBezTo>
                      <a:pt x="849" y="799"/>
                      <a:pt x="849" y="797"/>
                      <a:pt x="849" y="795"/>
                    </a:cubicBezTo>
                    <a:cubicBezTo>
                      <a:pt x="850" y="786"/>
                      <a:pt x="850" y="779"/>
                      <a:pt x="838" y="781"/>
                    </a:cubicBezTo>
                    <a:cubicBezTo>
                      <a:pt x="836" y="781"/>
                      <a:pt x="834" y="780"/>
                      <a:pt x="832" y="780"/>
                    </a:cubicBezTo>
                    <a:cubicBezTo>
                      <a:pt x="831" y="779"/>
                      <a:pt x="830" y="779"/>
                      <a:pt x="829" y="778"/>
                    </a:cubicBezTo>
                    <a:cubicBezTo>
                      <a:pt x="820" y="779"/>
                      <a:pt x="811" y="780"/>
                      <a:pt x="802" y="781"/>
                    </a:cubicBezTo>
                    <a:cubicBezTo>
                      <a:pt x="794" y="780"/>
                      <a:pt x="794" y="773"/>
                      <a:pt x="797" y="770"/>
                    </a:cubicBezTo>
                    <a:cubicBezTo>
                      <a:pt x="805" y="761"/>
                      <a:pt x="807" y="751"/>
                      <a:pt x="809" y="739"/>
                    </a:cubicBezTo>
                    <a:cubicBezTo>
                      <a:pt x="813" y="723"/>
                      <a:pt x="813" y="721"/>
                      <a:pt x="796" y="721"/>
                    </a:cubicBezTo>
                    <a:cubicBezTo>
                      <a:pt x="791" y="721"/>
                      <a:pt x="786" y="721"/>
                      <a:pt x="781" y="721"/>
                    </a:cubicBezTo>
                    <a:cubicBezTo>
                      <a:pt x="772" y="720"/>
                      <a:pt x="772" y="726"/>
                      <a:pt x="773" y="732"/>
                    </a:cubicBezTo>
                    <a:cubicBezTo>
                      <a:pt x="773" y="734"/>
                      <a:pt x="772" y="737"/>
                      <a:pt x="772" y="739"/>
                    </a:cubicBezTo>
                    <a:cubicBezTo>
                      <a:pt x="767" y="743"/>
                      <a:pt x="762" y="748"/>
                      <a:pt x="757" y="752"/>
                    </a:cubicBezTo>
                    <a:cubicBezTo>
                      <a:pt x="751" y="752"/>
                      <a:pt x="745" y="752"/>
                      <a:pt x="739" y="752"/>
                    </a:cubicBezTo>
                    <a:cubicBezTo>
                      <a:pt x="728" y="752"/>
                      <a:pt x="722" y="744"/>
                      <a:pt x="718" y="736"/>
                    </a:cubicBezTo>
                    <a:cubicBezTo>
                      <a:pt x="715" y="729"/>
                      <a:pt x="711" y="724"/>
                      <a:pt x="706" y="720"/>
                    </a:cubicBezTo>
                    <a:cubicBezTo>
                      <a:pt x="706" y="704"/>
                      <a:pt x="706" y="687"/>
                      <a:pt x="707" y="671"/>
                    </a:cubicBezTo>
                    <a:cubicBezTo>
                      <a:pt x="710" y="670"/>
                      <a:pt x="712" y="667"/>
                      <a:pt x="711" y="663"/>
                    </a:cubicBezTo>
                    <a:cubicBezTo>
                      <a:pt x="715" y="658"/>
                      <a:pt x="719" y="653"/>
                      <a:pt x="724" y="648"/>
                    </a:cubicBezTo>
                    <a:cubicBezTo>
                      <a:pt x="724" y="645"/>
                      <a:pt x="725" y="643"/>
                      <a:pt x="726" y="642"/>
                    </a:cubicBezTo>
                    <a:cubicBezTo>
                      <a:pt x="725" y="643"/>
                      <a:pt x="724" y="645"/>
                      <a:pt x="724" y="647"/>
                    </a:cubicBezTo>
                    <a:cubicBezTo>
                      <a:pt x="734" y="649"/>
                      <a:pt x="738" y="639"/>
                      <a:pt x="745" y="635"/>
                    </a:cubicBezTo>
                    <a:cubicBezTo>
                      <a:pt x="752" y="636"/>
                      <a:pt x="759" y="636"/>
                      <a:pt x="766" y="636"/>
                    </a:cubicBezTo>
                    <a:cubicBezTo>
                      <a:pt x="767" y="637"/>
                      <a:pt x="768" y="637"/>
                      <a:pt x="769" y="638"/>
                    </a:cubicBezTo>
                    <a:cubicBezTo>
                      <a:pt x="772" y="639"/>
                      <a:pt x="776" y="640"/>
                      <a:pt x="778" y="636"/>
                    </a:cubicBezTo>
                    <a:cubicBezTo>
                      <a:pt x="787" y="642"/>
                      <a:pt x="787" y="635"/>
                      <a:pt x="790" y="630"/>
                    </a:cubicBezTo>
                    <a:cubicBezTo>
                      <a:pt x="798" y="630"/>
                      <a:pt x="806" y="630"/>
                      <a:pt x="814" y="630"/>
                    </a:cubicBezTo>
                    <a:cubicBezTo>
                      <a:pt x="816" y="636"/>
                      <a:pt x="821" y="636"/>
                      <a:pt x="826" y="635"/>
                    </a:cubicBezTo>
                    <a:cubicBezTo>
                      <a:pt x="830" y="635"/>
                      <a:pt x="834" y="636"/>
                      <a:pt x="838" y="636"/>
                    </a:cubicBezTo>
                    <a:cubicBezTo>
                      <a:pt x="838" y="636"/>
                      <a:pt x="838" y="636"/>
                      <a:pt x="838" y="636"/>
                    </a:cubicBezTo>
                    <a:cubicBezTo>
                      <a:pt x="845" y="644"/>
                      <a:pt x="853" y="651"/>
                      <a:pt x="851" y="663"/>
                    </a:cubicBezTo>
                    <a:cubicBezTo>
                      <a:pt x="850" y="670"/>
                      <a:pt x="855" y="676"/>
                      <a:pt x="859" y="680"/>
                    </a:cubicBezTo>
                    <a:cubicBezTo>
                      <a:pt x="865" y="686"/>
                      <a:pt x="874" y="689"/>
                      <a:pt x="879" y="678"/>
                    </a:cubicBezTo>
                    <a:cubicBezTo>
                      <a:pt x="879" y="675"/>
                      <a:pt x="880" y="672"/>
                      <a:pt x="880" y="669"/>
                    </a:cubicBezTo>
                    <a:cubicBezTo>
                      <a:pt x="882" y="654"/>
                      <a:pt x="873" y="642"/>
                      <a:pt x="869" y="630"/>
                    </a:cubicBezTo>
                    <a:cubicBezTo>
                      <a:pt x="869" y="628"/>
                      <a:pt x="869" y="626"/>
                      <a:pt x="869" y="624"/>
                    </a:cubicBezTo>
                    <a:cubicBezTo>
                      <a:pt x="873" y="622"/>
                      <a:pt x="875" y="620"/>
                      <a:pt x="873" y="615"/>
                    </a:cubicBezTo>
                    <a:cubicBezTo>
                      <a:pt x="874" y="614"/>
                      <a:pt x="874" y="613"/>
                      <a:pt x="874" y="612"/>
                    </a:cubicBezTo>
                    <a:cubicBezTo>
                      <a:pt x="881" y="607"/>
                      <a:pt x="886" y="601"/>
                      <a:pt x="891" y="595"/>
                    </a:cubicBezTo>
                    <a:cubicBezTo>
                      <a:pt x="894" y="594"/>
                      <a:pt x="897" y="592"/>
                      <a:pt x="898" y="588"/>
                    </a:cubicBezTo>
                    <a:cubicBezTo>
                      <a:pt x="920" y="583"/>
                      <a:pt x="929" y="561"/>
                      <a:pt x="916" y="546"/>
                    </a:cubicBezTo>
                    <a:cubicBezTo>
                      <a:pt x="916" y="542"/>
                      <a:pt x="916" y="538"/>
                      <a:pt x="916" y="534"/>
                    </a:cubicBezTo>
                    <a:cubicBezTo>
                      <a:pt x="921" y="534"/>
                      <a:pt x="921" y="545"/>
                      <a:pt x="924" y="540"/>
                    </a:cubicBezTo>
                    <a:cubicBezTo>
                      <a:pt x="928" y="532"/>
                      <a:pt x="938" y="530"/>
                      <a:pt x="940" y="520"/>
                    </a:cubicBezTo>
                    <a:cubicBezTo>
                      <a:pt x="942" y="511"/>
                      <a:pt x="950" y="506"/>
                      <a:pt x="957" y="505"/>
                    </a:cubicBezTo>
                    <a:cubicBezTo>
                      <a:pt x="973" y="502"/>
                      <a:pt x="977" y="494"/>
                      <a:pt x="976" y="480"/>
                    </a:cubicBezTo>
                    <a:cubicBezTo>
                      <a:pt x="979" y="479"/>
                      <a:pt x="982" y="478"/>
                      <a:pt x="982" y="474"/>
                    </a:cubicBezTo>
                    <a:cubicBezTo>
                      <a:pt x="988" y="475"/>
                      <a:pt x="992" y="471"/>
                      <a:pt x="996" y="468"/>
                    </a:cubicBezTo>
                    <a:cubicBezTo>
                      <a:pt x="1004" y="462"/>
                      <a:pt x="1014" y="458"/>
                      <a:pt x="1024" y="459"/>
                    </a:cubicBezTo>
                    <a:cubicBezTo>
                      <a:pt x="1020" y="461"/>
                      <a:pt x="1019" y="465"/>
                      <a:pt x="1018" y="470"/>
                    </a:cubicBezTo>
                    <a:cubicBezTo>
                      <a:pt x="1026" y="473"/>
                      <a:pt x="1033" y="472"/>
                      <a:pt x="1038" y="464"/>
                    </a:cubicBezTo>
                    <a:cubicBezTo>
                      <a:pt x="1041" y="460"/>
                      <a:pt x="1046" y="459"/>
                      <a:pt x="1051" y="459"/>
                    </a:cubicBezTo>
                    <a:cubicBezTo>
                      <a:pt x="1065" y="462"/>
                      <a:pt x="1069" y="446"/>
                      <a:pt x="1080" y="443"/>
                    </a:cubicBezTo>
                    <a:cubicBezTo>
                      <a:pt x="1075" y="444"/>
                      <a:pt x="1074" y="430"/>
                      <a:pt x="1070" y="438"/>
                    </a:cubicBezTo>
                    <a:cubicBezTo>
                      <a:pt x="1064" y="450"/>
                      <a:pt x="1056" y="446"/>
                      <a:pt x="1048" y="447"/>
                    </a:cubicBezTo>
                    <a:cubicBezTo>
                      <a:pt x="1044" y="446"/>
                      <a:pt x="1042" y="440"/>
                      <a:pt x="1036" y="441"/>
                    </a:cubicBezTo>
                    <a:cubicBezTo>
                      <a:pt x="1036" y="439"/>
                      <a:pt x="1035" y="437"/>
                      <a:pt x="1035" y="435"/>
                    </a:cubicBezTo>
                    <a:cubicBezTo>
                      <a:pt x="1038" y="429"/>
                      <a:pt x="1032" y="426"/>
                      <a:pt x="1031" y="422"/>
                    </a:cubicBezTo>
                    <a:cubicBezTo>
                      <a:pt x="1032" y="422"/>
                      <a:pt x="1032" y="421"/>
                      <a:pt x="1031" y="420"/>
                    </a:cubicBezTo>
                    <a:cubicBezTo>
                      <a:pt x="1039" y="411"/>
                      <a:pt x="1039" y="409"/>
                      <a:pt x="1033" y="405"/>
                    </a:cubicBezTo>
                    <a:cubicBezTo>
                      <a:pt x="1032" y="405"/>
                      <a:pt x="1031" y="404"/>
                      <a:pt x="1030" y="404"/>
                    </a:cubicBezTo>
                    <a:cubicBezTo>
                      <a:pt x="1026" y="401"/>
                      <a:pt x="1022" y="401"/>
                      <a:pt x="1018" y="401"/>
                    </a:cubicBezTo>
                    <a:cubicBezTo>
                      <a:pt x="1019" y="388"/>
                      <a:pt x="1030" y="392"/>
                      <a:pt x="1039" y="388"/>
                    </a:cubicBezTo>
                    <a:cubicBezTo>
                      <a:pt x="1048" y="388"/>
                      <a:pt x="1057" y="388"/>
                      <a:pt x="1066" y="388"/>
                    </a:cubicBezTo>
                    <a:cubicBezTo>
                      <a:pt x="1084" y="396"/>
                      <a:pt x="1097" y="384"/>
                      <a:pt x="1113" y="371"/>
                    </a:cubicBezTo>
                    <a:cubicBezTo>
                      <a:pt x="1106" y="391"/>
                      <a:pt x="1095" y="405"/>
                      <a:pt x="1088" y="421"/>
                    </a:cubicBezTo>
                    <a:cubicBezTo>
                      <a:pt x="1102" y="427"/>
                      <a:pt x="1118" y="417"/>
                      <a:pt x="1132" y="426"/>
                    </a:cubicBezTo>
                    <a:cubicBezTo>
                      <a:pt x="1135" y="428"/>
                      <a:pt x="1140" y="428"/>
                      <a:pt x="1143" y="431"/>
                    </a:cubicBezTo>
                    <a:cubicBezTo>
                      <a:pt x="1145" y="433"/>
                      <a:pt x="1150" y="434"/>
                      <a:pt x="1152" y="430"/>
                    </a:cubicBezTo>
                    <a:cubicBezTo>
                      <a:pt x="1154" y="428"/>
                      <a:pt x="1153" y="425"/>
                      <a:pt x="1151" y="422"/>
                    </a:cubicBezTo>
                    <a:cubicBezTo>
                      <a:pt x="1147" y="417"/>
                      <a:pt x="1140" y="412"/>
                      <a:pt x="1144" y="404"/>
                    </a:cubicBezTo>
                    <a:cubicBezTo>
                      <a:pt x="1144" y="403"/>
                      <a:pt x="1142" y="401"/>
                      <a:pt x="1141" y="402"/>
                    </a:cubicBezTo>
                    <a:cubicBezTo>
                      <a:pt x="1131" y="406"/>
                      <a:pt x="1126" y="396"/>
                      <a:pt x="1119" y="393"/>
                    </a:cubicBezTo>
                    <a:cubicBezTo>
                      <a:pt x="1117" y="392"/>
                      <a:pt x="1113" y="393"/>
                      <a:pt x="1116" y="388"/>
                    </a:cubicBezTo>
                    <a:cubicBezTo>
                      <a:pt x="1119" y="382"/>
                      <a:pt x="1120" y="374"/>
                      <a:pt x="1122" y="370"/>
                    </a:cubicBezTo>
                    <a:cubicBezTo>
                      <a:pt x="1131" y="351"/>
                      <a:pt x="1126" y="342"/>
                      <a:pt x="1108" y="337"/>
                    </a:cubicBezTo>
                    <a:cubicBezTo>
                      <a:pt x="1105" y="334"/>
                      <a:pt x="1099" y="339"/>
                      <a:pt x="1096" y="333"/>
                    </a:cubicBezTo>
                    <a:cubicBezTo>
                      <a:pt x="1099" y="333"/>
                      <a:pt x="1104" y="334"/>
                      <a:pt x="1104" y="331"/>
                    </a:cubicBezTo>
                    <a:cubicBezTo>
                      <a:pt x="1104" y="326"/>
                      <a:pt x="1102" y="319"/>
                      <a:pt x="1098" y="319"/>
                    </a:cubicBezTo>
                    <a:cubicBezTo>
                      <a:pt x="1082" y="320"/>
                      <a:pt x="1077" y="306"/>
                      <a:pt x="1066" y="300"/>
                    </a:cubicBezTo>
                    <a:cubicBezTo>
                      <a:pt x="1066" y="297"/>
                      <a:pt x="1066" y="294"/>
                      <a:pt x="1066" y="291"/>
                    </a:cubicBezTo>
                    <a:cubicBezTo>
                      <a:pt x="1066" y="288"/>
                      <a:pt x="1067" y="284"/>
                      <a:pt x="1065" y="282"/>
                    </a:cubicBezTo>
                    <a:cubicBezTo>
                      <a:pt x="1058" y="272"/>
                      <a:pt x="1050" y="262"/>
                      <a:pt x="1042" y="252"/>
                    </a:cubicBezTo>
                    <a:cubicBezTo>
                      <a:pt x="1037" y="247"/>
                      <a:pt x="1029" y="241"/>
                      <a:pt x="1026" y="250"/>
                    </a:cubicBezTo>
                    <a:cubicBezTo>
                      <a:pt x="1022" y="260"/>
                      <a:pt x="1014" y="265"/>
                      <a:pt x="1009" y="272"/>
                    </a:cubicBezTo>
                    <a:cubicBezTo>
                      <a:pt x="1007" y="272"/>
                      <a:pt x="1005" y="272"/>
                      <a:pt x="1003" y="272"/>
                    </a:cubicBezTo>
                    <a:cubicBezTo>
                      <a:pt x="997" y="266"/>
                      <a:pt x="991" y="259"/>
                      <a:pt x="984" y="252"/>
                    </a:cubicBezTo>
                    <a:cubicBezTo>
                      <a:pt x="984" y="250"/>
                      <a:pt x="983" y="248"/>
                      <a:pt x="983" y="246"/>
                    </a:cubicBezTo>
                    <a:cubicBezTo>
                      <a:pt x="986" y="237"/>
                      <a:pt x="982" y="233"/>
                      <a:pt x="973" y="234"/>
                    </a:cubicBezTo>
                    <a:cubicBezTo>
                      <a:pt x="970" y="232"/>
                      <a:pt x="967" y="230"/>
                      <a:pt x="964" y="228"/>
                    </a:cubicBezTo>
                    <a:cubicBezTo>
                      <a:pt x="960" y="223"/>
                      <a:pt x="957" y="217"/>
                      <a:pt x="949" y="217"/>
                    </a:cubicBezTo>
                    <a:cubicBezTo>
                      <a:pt x="947" y="217"/>
                      <a:pt x="945" y="216"/>
                      <a:pt x="943" y="216"/>
                    </a:cubicBezTo>
                    <a:cubicBezTo>
                      <a:pt x="937" y="215"/>
                      <a:pt x="931" y="215"/>
                      <a:pt x="924" y="212"/>
                    </a:cubicBezTo>
                    <a:cubicBezTo>
                      <a:pt x="908" y="203"/>
                      <a:pt x="898" y="211"/>
                      <a:pt x="898" y="228"/>
                    </a:cubicBezTo>
                    <a:cubicBezTo>
                      <a:pt x="898" y="240"/>
                      <a:pt x="904" y="254"/>
                      <a:pt x="893" y="265"/>
                    </a:cubicBezTo>
                    <a:cubicBezTo>
                      <a:pt x="893" y="265"/>
                      <a:pt x="895" y="268"/>
                      <a:pt x="895" y="270"/>
                    </a:cubicBezTo>
                    <a:cubicBezTo>
                      <a:pt x="895" y="271"/>
                      <a:pt x="895" y="272"/>
                      <a:pt x="895" y="273"/>
                    </a:cubicBezTo>
                    <a:cubicBezTo>
                      <a:pt x="891" y="278"/>
                      <a:pt x="894" y="280"/>
                      <a:pt x="898" y="281"/>
                    </a:cubicBezTo>
                    <a:cubicBezTo>
                      <a:pt x="901" y="286"/>
                      <a:pt x="904" y="291"/>
                      <a:pt x="910" y="294"/>
                    </a:cubicBezTo>
                    <a:cubicBezTo>
                      <a:pt x="910" y="297"/>
                      <a:pt x="910" y="300"/>
                      <a:pt x="911" y="303"/>
                    </a:cubicBezTo>
                    <a:cubicBezTo>
                      <a:pt x="910" y="304"/>
                      <a:pt x="910" y="305"/>
                      <a:pt x="910" y="306"/>
                    </a:cubicBezTo>
                    <a:cubicBezTo>
                      <a:pt x="903" y="311"/>
                      <a:pt x="897" y="317"/>
                      <a:pt x="892" y="324"/>
                    </a:cubicBezTo>
                    <a:cubicBezTo>
                      <a:pt x="880" y="330"/>
                      <a:pt x="885" y="340"/>
                      <a:pt x="889" y="346"/>
                    </a:cubicBezTo>
                    <a:cubicBezTo>
                      <a:pt x="893" y="352"/>
                      <a:pt x="892" y="358"/>
                      <a:pt x="892" y="363"/>
                    </a:cubicBezTo>
                    <a:cubicBezTo>
                      <a:pt x="890" y="371"/>
                      <a:pt x="887" y="376"/>
                      <a:pt x="878" y="368"/>
                    </a:cubicBezTo>
                    <a:cubicBezTo>
                      <a:pt x="870" y="361"/>
                      <a:pt x="862" y="354"/>
                      <a:pt x="856" y="345"/>
                    </a:cubicBezTo>
                    <a:cubicBezTo>
                      <a:pt x="858" y="343"/>
                      <a:pt x="859" y="342"/>
                      <a:pt x="857" y="340"/>
                    </a:cubicBezTo>
                    <a:cubicBezTo>
                      <a:pt x="858" y="326"/>
                      <a:pt x="856" y="316"/>
                      <a:pt x="837" y="317"/>
                    </a:cubicBezTo>
                    <a:cubicBezTo>
                      <a:pt x="830" y="317"/>
                      <a:pt x="818" y="315"/>
                      <a:pt x="812" y="308"/>
                    </a:cubicBezTo>
                    <a:cubicBezTo>
                      <a:pt x="799" y="291"/>
                      <a:pt x="781" y="293"/>
                      <a:pt x="764" y="293"/>
                    </a:cubicBezTo>
                    <a:cubicBezTo>
                      <a:pt x="755" y="293"/>
                      <a:pt x="754" y="290"/>
                      <a:pt x="754" y="283"/>
                    </a:cubicBezTo>
                    <a:cubicBezTo>
                      <a:pt x="755" y="275"/>
                      <a:pt x="753" y="270"/>
                      <a:pt x="744" y="269"/>
                    </a:cubicBezTo>
                    <a:cubicBezTo>
                      <a:pt x="740" y="269"/>
                      <a:pt x="737" y="264"/>
                      <a:pt x="733" y="261"/>
                    </a:cubicBezTo>
                    <a:cubicBezTo>
                      <a:pt x="733" y="259"/>
                      <a:pt x="733" y="257"/>
                      <a:pt x="733" y="255"/>
                    </a:cubicBezTo>
                    <a:cubicBezTo>
                      <a:pt x="740" y="236"/>
                      <a:pt x="753" y="222"/>
                      <a:pt x="767" y="209"/>
                    </a:cubicBezTo>
                    <a:cubicBezTo>
                      <a:pt x="772" y="204"/>
                      <a:pt x="769" y="198"/>
                      <a:pt x="770" y="198"/>
                    </a:cubicBezTo>
                    <a:cubicBezTo>
                      <a:pt x="784" y="201"/>
                      <a:pt x="794" y="187"/>
                      <a:pt x="808" y="192"/>
                    </a:cubicBezTo>
                    <a:cubicBezTo>
                      <a:pt x="808" y="185"/>
                      <a:pt x="807" y="178"/>
                      <a:pt x="807" y="171"/>
                    </a:cubicBezTo>
                    <a:cubicBezTo>
                      <a:pt x="807" y="170"/>
                      <a:pt x="808" y="169"/>
                      <a:pt x="808" y="167"/>
                    </a:cubicBezTo>
                    <a:cubicBezTo>
                      <a:pt x="810" y="167"/>
                      <a:pt x="812" y="167"/>
                      <a:pt x="814" y="166"/>
                    </a:cubicBezTo>
                    <a:cubicBezTo>
                      <a:pt x="826" y="168"/>
                      <a:pt x="816" y="174"/>
                      <a:pt x="816" y="178"/>
                    </a:cubicBezTo>
                    <a:cubicBezTo>
                      <a:pt x="817" y="184"/>
                      <a:pt x="814" y="189"/>
                      <a:pt x="808" y="192"/>
                    </a:cubicBezTo>
                    <a:cubicBezTo>
                      <a:pt x="816" y="195"/>
                      <a:pt x="829" y="202"/>
                      <a:pt x="831" y="200"/>
                    </a:cubicBezTo>
                    <a:cubicBezTo>
                      <a:pt x="843" y="187"/>
                      <a:pt x="857" y="196"/>
                      <a:pt x="869" y="195"/>
                    </a:cubicBezTo>
                    <a:cubicBezTo>
                      <a:pt x="871" y="195"/>
                      <a:pt x="873" y="195"/>
                      <a:pt x="873" y="192"/>
                    </a:cubicBezTo>
                    <a:cubicBezTo>
                      <a:pt x="856" y="178"/>
                      <a:pt x="838" y="167"/>
                      <a:pt x="817" y="159"/>
                    </a:cubicBezTo>
                    <a:cubicBezTo>
                      <a:pt x="820" y="156"/>
                      <a:pt x="818" y="149"/>
                      <a:pt x="825" y="151"/>
                    </a:cubicBezTo>
                    <a:cubicBezTo>
                      <a:pt x="836" y="154"/>
                      <a:pt x="846" y="148"/>
                      <a:pt x="856" y="148"/>
                    </a:cubicBezTo>
                    <a:cubicBezTo>
                      <a:pt x="859" y="148"/>
                      <a:pt x="860" y="147"/>
                      <a:pt x="860" y="144"/>
                    </a:cubicBezTo>
                    <a:cubicBezTo>
                      <a:pt x="870" y="133"/>
                      <a:pt x="859" y="119"/>
                      <a:pt x="864" y="106"/>
                    </a:cubicBezTo>
                    <a:cubicBezTo>
                      <a:pt x="867" y="98"/>
                      <a:pt x="853" y="99"/>
                      <a:pt x="850" y="93"/>
                    </a:cubicBezTo>
                    <a:cubicBezTo>
                      <a:pt x="863" y="92"/>
                      <a:pt x="879" y="91"/>
                      <a:pt x="887" y="85"/>
                    </a:cubicBezTo>
                    <a:cubicBezTo>
                      <a:pt x="898" y="78"/>
                      <a:pt x="900" y="84"/>
                      <a:pt x="905" y="88"/>
                    </a:cubicBezTo>
                    <a:cubicBezTo>
                      <a:pt x="908" y="91"/>
                      <a:pt x="911" y="94"/>
                      <a:pt x="915" y="96"/>
                    </a:cubicBezTo>
                    <a:cubicBezTo>
                      <a:pt x="924" y="100"/>
                      <a:pt x="921" y="103"/>
                      <a:pt x="915" y="107"/>
                    </a:cubicBezTo>
                    <a:cubicBezTo>
                      <a:pt x="931" y="106"/>
                      <a:pt x="945" y="113"/>
                      <a:pt x="950" y="125"/>
                    </a:cubicBezTo>
                    <a:cubicBezTo>
                      <a:pt x="956" y="137"/>
                      <a:pt x="959" y="146"/>
                      <a:pt x="975" y="142"/>
                    </a:cubicBezTo>
                    <a:cubicBezTo>
                      <a:pt x="977" y="141"/>
                      <a:pt x="982" y="147"/>
                      <a:pt x="986" y="150"/>
                    </a:cubicBezTo>
                    <a:cubicBezTo>
                      <a:pt x="978" y="156"/>
                      <a:pt x="973" y="158"/>
                      <a:pt x="966" y="150"/>
                    </a:cubicBezTo>
                    <a:cubicBezTo>
                      <a:pt x="959" y="143"/>
                      <a:pt x="950" y="147"/>
                      <a:pt x="942" y="148"/>
                    </a:cubicBezTo>
                    <a:cubicBezTo>
                      <a:pt x="939" y="148"/>
                      <a:pt x="937" y="152"/>
                      <a:pt x="938" y="155"/>
                    </a:cubicBezTo>
                    <a:cubicBezTo>
                      <a:pt x="943" y="173"/>
                      <a:pt x="930" y="171"/>
                      <a:pt x="921" y="168"/>
                    </a:cubicBezTo>
                    <a:cubicBezTo>
                      <a:pt x="914" y="165"/>
                      <a:pt x="909" y="168"/>
                      <a:pt x="903" y="171"/>
                    </a:cubicBezTo>
                    <a:cubicBezTo>
                      <a:pt x="899" y="173"/>
                      <a:pt x="898" y="176"/>
                      <a:pt x="899" y="179"/>
                    </a:cubicBezTo>
                    <a:cubicBezTo>
                      <a:pt x="899" y="184"/>
                      <a:pt x="904" y="183"/>
                      <a:pt x="907" y="183"/>
                    </a:cubicBezTo>
                    <a:cubicBezTo>
                      <a:pt x="916" y="182"/>
                      <a:pt x="924" y="184"/>
                      <a:pt x="933" y="181"/>
                    </a:cubicBezTo>
                    <a:cubicBezTo>
                      <a:pt x="940" y="178"/>
                      <a:pt x="946" y="182"/>
                      <a:pt x="953" y="187"/>
                    </a:cubicBezTo>
                    <a:cubicBezTo>
                      <a:pt x="961" y="192"/>
                      <a:pt x="960" y="205"/>
                      <a:pt x="969" y="206"/>
                    </a:cubicBezTo>
                    <a:cubicBezTo>
                      <a:pt x="984" y="207"/>
                      <a:pt x="995" y="218"/>
                      <a:pt x="1008" y="223"/>
                    </a:cubicBezTo>
                    <a:cubicBezTo>
                      <a:pt x="1012" y="224"/>
                      <a:pt x="1014" y="225"/>
                      <a:pt x="1016" y="222"/>
                    </a:cubicBezTo>
                    <a:cubicBezTo>
                      <a:pt x="1019" y="219"/>
                      <a:pt x="1016" y="216"/>
                      <a:pt x="1015" y="215"/>
                    </a:cubicBezTo>
                    <a:cubicBezTo>
                      <a:pt x="1009" y="208"/>
                      <a:pt x="1002" y="203"/>
                      <a:pt x="996" y="197"/>
                    </a:cubicBezTo>
                    <a:cubicBezTo>
                      <a:pt x="1004" y="198"/>
                      <a:pt x="1011" y="201"/>
                      <a:pt x="1017" y="205"/>
                    </a:cubicBezTo>
                    <a:cubicBezTo>
                      <a:pt x="1024" y="208"/>
                      <a:pt x="1028" y="206"/>
                      <a:pt x="1033" y="201"/>
                    </a:cubicBezTo>
                    <a:cubicBezTo>
                      <a:pt x="1041" y="195"/>
                      <a:pt x="1030" y="196"/>
                      <a:pt x="1030" y="192"/>
                    </a:cubicBezTo>
                    <a:cubicBezTo>
                      <a:pt x="1029" y="179"/>
                      <a:pt x="1017" y="177"/>
                      <a:pt x="1009" y="171"/>
                    </a:cubicBezTo>
                    <a:cubicBezTo>
                      <a:pt x="1000" y="166"/>
                      <a:pt x="1001" y="157"/>
                      <a:pt x="1005" y="151"/>
                    </a:cubicBezTo>
                    <a:cubicBezTo>
                      <a:pt x="1009" y="145"/>
                      <a:pt x="1014" y="155"/>
                      <a:pt x="1020" y="155"/>
                    </a:cubicBezTo>
                    <a:cubicBezTo>
                      <a:pt x="1022" y="154"/>
                      <a:pt x="1024" y="161"/>
                      <a:pt x="1027" y="163"/>
                    </a:cubicBezTo>
                    <a:cubicBezTo>
                      <a:pt x="1031" y="167"/>
                      <a:pt x="1035" y="174"/>
                      <a:pt x="1042" y="170"/>
                    </a:cubicBezTo>
                    <a:cubicBezTo>
                      <a:pt x="1052" y="164"/>
                      <a:pt x="1059" y="156"/>
                      <a:pt x="1065" y="146"/>
                    </a:cubicBezTo>
                    <a:cubicBezTo>
                      <a:pt x="1066" y="145"/>
                      <a:pt x="1065" y="144"/>
                      <a:pt x="1064" y="144"/>
                    </a:cubicBezTo>
                    <a:cubicBezTo>
                      <a:pt x="1050" y="140"/>
                      <a:pt x="1043" y="125"/>
                      <a:pt x="1028" y="123"/>
                    </a:cubicBezTo>
                    <a:cubicBezTo>
                      <a:pt x="1020" y="122"/>
                      <a:pt x="1013" y="119"/>
                      <a:pt x="1006" y="117"/>
                    </a:cubicBezTo>
                    <a:cubicBezTo>
                      <a:pt x="1002" y="115"/>
                      <a:pt x="998" y="107"/>
                      <a:pt x="1002" y="106"/>
                    </a:cubicBezTo>
                    <a:cubicBezTo>
                      <a:pt x="1016" y="102"/>
                      <a:pt x="995" y="91"/>
                      <a:pt x="1007" y="88"/>
                    </a:cubicBezTo>
                    <a:cubicBezTo>
                      <a:pt x="997" y="89"/>
                      <a:pt x="993" y="76"/>
                      <a:pt x="989" y="76"/>
                    </a:cubicBezTo>
                    <a:cubicBezTo>
                      <a:pt x="971" y="80"/>
                      <a:pt x="965" y="54"/>
                      <a:pt x="947" y="63"/>
                    </a:cubicBezTo>
                    <a:cubicBezTo>
                      <a:pt x="944" y="64"/>
                      <a:pt x="944" y="60"/>
                      <a:pt x="942" y="58"/>
                    </a:cubicBezTo>
                    <a:cubicBezTo>
                      <a:pt x="929" y="47"/>
                      <a:pt x="917" y="35"/>
                      <a:pt x="898" y="39"/>
                    </a:cubicBezTo>
                    <a:cubicBezTo>
                      <a:pt x="898" y="45"/>
                      <a:pt x="894" y="49"/>
                      <a:pt x="888" y="46"/>
                    </a:cubicBezTo>
                    <a:cubicBezTo>
                      <a:pt x="881" y="43"/>
                      <a:pt x="877" y="47"/>
                      <a:pt x="869" y="50"/>
                    </a:cubicBezTo>
                    <a:cubicBezTo>
                      <a:pt x="869" y="42"/>
                      <a:pt x="869" y="34"/>
                      <a:pt x="869" y="27"/>
                    </a:cubicBezTo>
                    <a:cubicBezTo>
                      <a:pt x="865" y="25"/>
                      <a:pt x="863" y="11"/>
                      <a:pt x="852" y="17"/>
                    </a:cubicBezTo>
                    <a:cubicBezTo>
                      <a:pt x="845" y="21"/>
                      <a:pt x="837" y="24"/>
                      <a:pt x="830" y="27"/>
                    </a:cubicBezTo>
                    <a:cubicBezTo>
                      <a:pt x="825" y="29"/>
                      <a:pt x="821" y="32"/>
                      <a:pt x="823" y="36"/>
                    </a:cubicBezTo>
                    <a:cubicBezTo>
                      <a:pt x="826" y="42"/>
                      <a:pt x="826" y="46"/>
                      <a:pt x="823" y="51"/>
                    </a:cubicBezTo>
                    <a:cubicBezTo>
                      <a:pt x="822" y="54"/>
                      <a:pt x="829" y="57"/>
                      <a:pt x="823" y="58"/>
                    </a:cubicBezTo>
                    <a:cubicBezTo>
                      <a:pt x="819" y="58"/>
                      <a:pt x="818" y="55"/>
                      <a:pt x="817" y="51"/>
                    </a:cubicBezTo>
                    <a:cubicBezTo>
                      <a:pt x="813" y="37"/>
                      <a:pt x="815" y="26"/>
                      <a:pt x="830" y="20"/>
                    </a:cubicBezTo>
                    <a:cubicBezTo>
                      <a:pt x="816" y="15"/>
                      <a:pt x="794" y="22"/>
                      <a:pt x="787" y="32"/>
                    </a:cubicBezTo>
                    <a:cubicBezTo>
                      <a:pt x="781" y="40"/>
                      <a:pt x="779" y="50"/>
                      <a:pt x="782" y="60"/>
                    </a:cubicBezTo>
                    <a:cubicBezTo>
                      <a:pt x="784" y="67"/>
                      <a:pt x="794" y="64"/>
                      <a:pt x="800" y="66"/>
                    </a:cubicBezTo>
                    <a:cubicBezTo>
                      <a:pt x="801" y="67"/>
                      <a:pt x="803" y="67"/>
                      <a:pt x="802" y="68"/>
                    </a:cubicBezTo>
                    <a:cubicBezTo>
                      <a:pt x="797" y="72"/>
                      <a:pt x="789" y="64"/>
                      <a:pt x="787" y="73"/>
                    </a:cubicBezTo>
                    <a:cubicBezTo>
                      <a:pt x="787" y="77"/>
                      <a:pt x="790" y="81"/>
                      <a:pt x="795" y="81"/>
                    </a:cubicBezTo>
                    <a:cubicBezTo>
                      <a:pt x="811" y="79"/>
                      <a:pt x="825" y="91"/>
                      <a:pt x="841" y="87"/>
                    </a:cubicBezTo>
                    <a:cubicBezTo>
                      <a:pt x="844" y="87"/>
                      <a:pt x="847" y="87"/>
                      <a:pt x="847" y="91"/>
                    </a:cubicBezTo>
                    <a:cubicBezTo>
                      <a:pt x="836" y="89"/>
                      <a:pt x="825" y="88"/>
                      <a:pt x="823" y="104"/>
                    </a:cubicBezTo>
                    <a:cubicBezTo>
                      <a:pt x="822" y="108"/>
                      <a:pt x="819" y="112"/>
                      <a:pt x="817" y="117"/>
                    </a:cubicBezTo>
                    <a:cubicBezTo>
                      <a:pt x="814" y="119"/>
                      <a:pt x="810" y="121"/>
                      <a:pt x="812" y="126"/>
                    </a:cubicBezTo>
                    <a:cubicBezTo>
                      <a:pt x="797" y="132"/>
                      <a:pt x="800" y="117"/>
                      <a:pt x="801" y="113"/>
                    </a:cubicBezTo>
                    <a:cubicBezTo>
                      <a:pt x="801" y="104"/>
                      <a:pt x="797" y="101"/>
                      <a:pt x="790" y="102"/>
                    </a:cubicBezTo>
                    <a:cubicBezTo>
                      <a:pt x="771" y="106"/>
                      <a:pt x="768" y="93"/>
                      <a:pt x="763" y="81"/>
                    </a:cubicBezTo>
                    <a:cubicBezTo>
                      <a:pt x="767" y="76"/>
                      <a:pt x="764" y="74"/>
                      <a:pt x="760" y="72"/>
                    </a:cubicBezTo>
                    <a:cubicBezTo>
                      <a:pt x="754" y="63"/>
                      <a:pt x="750" y="50"/>
                      <a:pt x="734" y="53"/>
                    </a:cubicBezTo>
                    <a:cubicBezTo>
                      <a:pt x="744" y="49"/>
                      <a:pt x="747" y="34"/>
                      <a:pt x="760" y="38"/>
                    </a:cubicBezTo>
                    <a:cubicBezTo>
                      <a:pt x="762" y="39"/>
                      <a:pt x="763" y="38"/>
                      <a:pt x="762" y="36"/>
                    </a:cubicBezTo>
                    <a:cubicBezTo>
                      <a:pt x="766" y="31"/>
                      <a:pt x="768" y="26"/>
                      <a:pt x="772" y="22"/>
                    </a:cubicBezTo>
                    <a:cubicBezTo>
                      <a:pt x="776" y="17"/>
                      <a:pt x="774" y="14"/>
                      <a:pt x="770" y="14"/>
                    </a:cubicBezTo>
                    <a:cubicBezTo>
                      <a:pt x="760" y="15"/>
                      <a:pt x="752" y="7"/>
                      <a:pt x="742" y="10"/>
                    </a:cubicBezTo>
                    <a:cubicBezTo>
                      <a:pt x="741" y="10"/>
                      <a:pt x="740" y="10"/>
                      <a:pt x="739" y="10"/>
                    </a:cubicBezTo>
                    <a:cubicBezTo>
                      <a:pt x="736" y="9"/>
                      <a:pt x="733" y="11"/>
                      <a:pt x="730" y="13"/>
                    </a:cubicBezTo>
                    <a:cubicBezTo>
                      <a:pt x="725" y="14"/>
                      <a:pt x="730" y="19"/>
                      <a:pt x="727" y="21"/>
                    </a:cubicBezTo>
                    <a:cubicBezTo>
                      <a:pt x="717" y="25"/>
                      <a:pt x="722" y="32"/>
                      <a:pt x="725" y="37"/>
                    </a:cubicBezTo>
                    <a:cubicBezTo>
                      <a:pt x="727" y="43"/>
                      <a:pt x="730" y="51"/>
                      <a:pt x="725" y="53"/>
                    </a:cubicBezTo>
                    <a:cubicBezTo>
                      <a:pt x="708" y="62"/>
                      <a:pt x="711" y="76"/>
                      <a:pt x="713" y="90"/>
                    </a:cubicBezTo>
                    <a:cubicBezTo>
                      <a:pt x="702" y="91"/>
                      <a:pt x="694" y="97"/>
                      <a:pt x="688" y="106"/>
                    </a:cubicBezTo>
                    <a:cubicBezTo>
                      <a:pt x="693" y="108"/>
                      <a:pt x="698" y="110"/>
                      <a:pt x="702" y="112"/>
                    </a:cubicBezTo>
                    <a:cubicBezTo>
                      <a:pt x="697" y="117"/>
                      <a:pt x="693" y="120"/>
                      <a:pt x="688" y="124"/>
                    </a:cubicBezTo>
                    <a:cubicBezTo>
                      <a:pt x="684" y="123"/>
                      <a:pt x="680" y="124"/>
                      <a:pt x="676" y="126"/>
                    </a:cubicBezTo>
                    <a:cubicBezTo>
                      <a:pt x="661" y="127"/>
                      <a:pt x="648" y="121"/>
                      <a:pt x="634" y="115"/>
                    </a:cubicBezTo>
                    <a:cubicBezTo>
                      <a:pt x="631" y="115"/>
                      <a:pt x="628" y="114"/>
                      <a:pt x="625" y="114"/>
                    </a:cubicBezTo>
                    <a:cubicBezTo>
                      <a:pt x="618" y="106"/>
                      <a:pt x="604" y="108"/>
                      <a:pt x="595" y="119"/>
                    </a:cubicBezTo>
                    <a:cubicBezTo>
                      <a:pt x="600" y="121"/>
                      <a:pt x="604" y="114"/>
                      <a:pt x="610" y="119"/>
                    </a:cubicBezTo>
                    <a:cubicBezTo>
                      <a:pt x="594" y="121"/>
                      <a:pt x="610" y="135"/>
                      <a:pt x="601" y="140"/>
                    </a:cubicBezTo>
                    <a:cubicBezTo>
                      <a:pt x="600" y="139"/>
                      <a:pt x="599" y="139"/>
                      <a:pt x="598" y="138"/>
                    </a:cubicBezTo>
                    <a:cubicBezTo>
                      <a:pt x="598" y="130"/>
                      <a:pt x="595" y="125"/>
                      <a:pt x="586" y="127"/>
                    </a:cubicBezTo>
                    <a:cubicBezTo>
                      <a:pt x="583" y="126"/>
                      <a:pt x="581" y="121"/>
                      <a:pt x="577" y="126"/>
                    </a:cubicBezTo>
                    <a:cubicBezTo>
                      <a:pt x="566" y="126"/>
                      <a:pt x="556" y="126"/>
                      <a:pt x="546" y="126"/>
                    </a:cubicBezTo>
                    <a:cubicBezTo>
                      <a:pt x="538" y="127"/>
                      <a:pt x="537" y="123"/>
                      <a:pt x="538" y="117"/>
                    </a:cubicBezTo>
                    <a:cubicBezTo>
                      <a:pt x="541" y="116"/>
                      <a:pt x="541" y="115"/>
                      <a:pt x="538" y="114"/>
                    </a:cubicBezTo>
                    <a:cubicBezTo>
                      <a:pt x="539" y="110"/>
                      <a:pt x="535" y="106"/>
                      <a:pt x="539" y="102"/>
                    </a:cubicBezTo>
                    <a:cubicBezTo>
                      <a:pt x="545" y="104"/>
                      <a:pt x="545" y="110"/>
                      <a:pt x="552" y="112"/>
                    </a:cubicBezTo>
                    <a:cubicBezTo>
                      <a:pt x="573" y="118"/>
                      <a:pt x="590" y="110"/>
                      <a:pt x="608" y="103"/>
                    </a:cubicBezTo>
                    <a:cubicBezTo>
                      <a:pt x="614" y="101"/>
                      <a:pt x="616" y="100"/>
                      <a:pt x="622" y="103"/>
                    </a:cubicBezTo>
                    <a:cubicBezTo>
                      <a:pt x="640" y="114"/>
                      <a:pt x="652" y="112"/>
                      <a:pt x="663" y="101"/>
                    </a:cubicBezTo>
                    <a:cubicBezTo>
                      <a:pt x="660" y="96"/>
                      <a:pt x="652" y="102"/>
                      <a:pt x="649" y="96"/>
                    </a:cubicBezTo>
                    <a:cubicBezTo>
                      <a:pt x="655" y="89"/>
                      <a:pt x="663" y="93"/>
                      <a:pt x="670" y="92"/>
                    </a:cubicBezTo>
                    <a:cubicBezTo>
                      <a:pt x="669" y="80"/>
                      <a:pt x="658" y="79"/>
                      <a:pt x="651" y="76"/>
                    </a:cubicBezTo>
                    <a:cubicBezTo>
                      <a:pt x="633" y="68"/>
                      <a:pt x="624" y="48"/>
                      <a:pt x="632" y="30"/>
                    </a:cubicBezTo>
                    <a:cubicBezTo>
                      <a:pt x="636" y="22"/>
                      <a:pt x="633" y="19"/>
                      <a:pt x="625" y="18"/>
                    </a:cubicBezTo>
                    <a:cubicBezTo>
                      <a:pt x="616" y="17"/>
                      <a:pt x="611" y="28"/>
                      <a:pt x="602" y="29"/>
                    </a:cubicBezTo>
                    <a:cubicBezTo>
                      <a:pt x="600" y="30"/>
                      <a:pt x="601" y="41"/>
                      <a:pt x="603" y="47"/>
                    </a:cubicBezTo>
                    <a:cubicBezTo>
                      <a:pt x="604" y="49"/>
                      <a:pt x="610" y="54"/>
                      <a:pt x="604" y="56"/>
                    </a:cubicBezTo>
                    <a:cubicBezTo>
                      <a:pt x="599" y="58"/>
                      <a:pt x="595" y="55"/>
                      <a:pt x="595" y="49"/>
                    </a:cubicBezTo>
                    <a:cubicBezTo>
                      <a:pt x="596" y="41"/>
                      <a:pt x="590" y="37"/>
                      <a:pt x="584" y="34"/>
                    </a:cubicBezTo>
                    <a:cubicBezTo>
                      <a:pt x="582" y="32"/>
                      <a:pt x="576" y="31"/>
                      <a:pt x="578" y="37"/>
                    </a:cubicBezTo>
                    <a:cubicBezTo>
                      <a:pt x="579" y="40"/>
                      <a:pt x="583" y="45"/>
                      <a:pt x="579" y="43"/>
                    </a:cubicBezTo>
                    <a:cubicBezTo>
                      <a:pt x="573" y="40"/>
                      <a:pt x="569" y="50"/>
                      <a:pt x="565" y="41"/>
                    </a:cubicBezTo>
                    <a:cubicBezTo>
                      <a:pt x="560" y="29"/>
                      <a:pt x="553" y="29"/>
                      <a:pt x="546" y="40"/>
                    </a:cubicBezTo>
                    <a:cubicBezTo>
                      <a:pt x="544" y="42"/>
                      <a:pt x="541" y="43"/>
                      <a:pt x="539" y="42"/>
                    </a:cubicBezTo>
                    <a:cubicBezTo>
                      <a:pt x="534" y="39"/>
                      <a:pt x="541" y="38"/>
                      <a:pt x="541" y="36"/>
                    </a:cubicBezTo>
                    <a:cubicBezTo>
                      <a:pt x="542" y="30"/>
                      <a:pt x="540" y="27"/>
                      <a:pt x="533" y="27"/>
                    </a:cubicBezTo>
                    <a:cubicBezTo>
                      <a:pt x="531" y="27"/>
                      <a:pt x="527" y="29"/>
                      <a:pt x="525" y="24"/>
                    </a:cubicBezTo>
                    <a:cubicBezTo>
                      <a:pt x="520" y="11"/>
                      <a:pt x="510" y="9"/>
                      <a:pt x="498" y="9"/>
                    </a:cubicBezTo>
                    <a:cubicBezTo>
                      <a:pt x="489" y="9"/>
                      <a:pt x="480" y="10"/>
                      <a:pt x="471" y="5"/>
                    </a:cubicBezTo>
                    <a:cubicBezTo>
                      <a:pt x="462" y="0"/>
                      <a:pt x="450" y="3"/>
                      <a:pt x="440" y="6"/>
                    </a:cubicBezTo>
                    <a:cubicBezTo>
                      <a:pt x="431" y="10"/>
                      <a:pt x="442" y="16"/>
                      <a:pt x="439" y="20"/>
                    </a:cubicBezTo>
                    <a:cubicBezTo>
                      <a:pt x="437" y="21"/>
                      <a:pt x="437" y="23"/>
                      <a:pt x="436" y="25"/>
                    </a:cubicBezTo>
                    <a:cubicBezTo>
                      <a:pt x="433" y="32"/>
                      <a:pt x="426" y="39"/>
                      <a:pt x="425" y="44"/>
                    </a:cubicBezTo>
                    <a:cubicBezTo>
                      <a:pt x="423" y="58"/>
                      <a:pt x="446" y="53"/>
                      <a:pt x="446" y="68"/>
                    </a:cubicBezTo>
                    <a:cubicBezTo>
                      <a:pt x="446" y="70"/>
                      <a:pt x="452" y="69"/>
                      <a:pt x="456" y="68"/>
                    </a:cubicBezTo>
                    <a:cubicBezTo>
                      <a:pt x="469" y="64"/>
                      <a:pt x="479" y="58"/>
                      <a:pt x="485" y="46"/>
                    </a:cubicBezTo>
                    <a:cubicBezTo>
                      <a:pt x="488" y="42"/>
                      <a:pt x="491" y="37"/>
                      <a:pt x="498" y="37"/>
                    </a:cubicBezTo>
                    <a:cubicBezTo>
                      <a:pt x="490" y="57"/>
                      <a:pt x="491" y="60"/>
                      <a:pt x="510" y="64"/>
                    </a:cubicBezTo>
                    <a:cubicBezTo>
                      <a:pt x="506" y="67"/>
                      <a:pt x="503" y="69"/>
                      <a:pt x="498" y="72"/>
                    </a:cubicBezTo>
                    <a:cubicBezTo>
                      <a:pt x="518" y="82"/>
                      <a:pt x="541" y="68"/>
                      <a:pt x="559" y="84"/>
                    </a:cubicBezTo>
                    <a:cubicBezTo>
                      <a:pt x="541" y="83"/>
                      <a:pt x="524" y="83"/>
                      <a:pt x="508" y="89"/>
                    </a:cubicBezTo>
                    <a:cubicBezTo>
                      <a:pt x="512" y="99"/>
                      <a:pt x="520" y="99"/>
                      <a:pt x="528" y="101"/>
                    </a:cubicBezTo>
                    <a:cubicBezTo>
                      <a:pt x="518" y="101"/>
                      <a:pt x="509" y="102"/>
                      <a:pt x="498" y="98"/>
                    </a:cubicBezTo>
                    <a:cubicBezTo>
                      <a:pt x="486" y="93"/>
                      <a:pt x="472" y="86"/>
                      <a:pt x="457" y="91"/>
                    </a:cubicBezTo>
                    <a:cubicBezTo>
                      <a:pt x="450" y="90"/>
                      <a:pt x="443" y="90"/>
                      <a:pt x="436" y="89"/>
                    </a:cubicBezTo>
                    <a:cubicBezTo>
                      <a:pt x="432" y="83"/>
                      <a:pt x="428" y="84"/>
                      <a:pt x="424" y="90"/>
                    </a:cubicBezTo>
                    <a:cubicBezTo>
                      <a:pt x="422" y="90"/>
                      <a:pt x="420" y="90"/>
                      <a:pt x="418" y="90"/>
                    </a:cubicBezTo>
                    <a:cubicBezTo>
                      <a:pt x="417" y="86"/>
                      <a:pt x="413" y="84"/>
                      <a:pt x="409" y="84"/>
                    </a:cubicBezTo>
                    <a:cubicBezTo>
                      <a:pt x="409" y="82"/>
                      <a:pt x="407" y="82"/>
                      <a:pt x="406" y="82"/>
                    </a:cubicBezTo>
                    <a:cubicBezTo>
                      <a:pt x="401" y="77"/>
                      <a:pt x="398" y="78"/>
                      <a:pt x="395" y="84"/>
                    </a:cubicBezTo>
                    <a:cubicBezTo>
                      <a:pt x="395" y="83"/>
                      <a:pt x="394" y="84"/>
                      <a:pt x="394" y="85"/>
                    </a:cubicBezTo>
                    <a:cubicBezTo>
                      <a:pt x="388" y="88"/>
                      <a:pt x="382" y="83"/>
                      <a:pt x="376" y="85"/>
                    </a:cubicBezTo>
                    <a:cubicBezTo>
                      <a:pt x="372" y="85"/>
                      <a:pt x="368" y="85"/>
                      <a:pt x="364" y="85"/>
                    </a:cubicBezTo>
                    <a:cubicBezTo>
                      <a:pt x="359" y="91"/>
                      <a:pt x="349" y="88"/>
                      <a:pt x="346" y="96"/>
                    </a:cubicBezTo>
                    <a:cubicBezTo>
                      <a:pt x="344" y="96"/>
                      <a:pt x="342" y="96"/>
                      <a:pt x="340" y="97"/>
                    </a:cubicBezTo>
                    <a:cubicBezTo>
                      <a:pt x="333" y="96"/>
                      <a:pt x="326" y="94"/>
                      <a:pt x="322" y="102"/>
                    </a:cubicBezTo>
                    <a:cubicBezTo>
                      <a:pt x="321" y="102"/>
                      <a:pt x="320" y="103"/>
                      <a:pt x="319" y="103"/>
                    </a:cubicBezTo>
                    <a:cubicBezTo>
                      <a:pt x="312" y="102"/>
                      <a:pt x="305" y="101"/>
                      <a:pt x="298" y="97"/>
                    </a:cubicBezTo>
                    <a:cubicBezTo>
                      <a:pt x="291" y="93"/>
                      <a:pt x="284" y="87"/>
                      <a:pt x="274" y="91"/>
                    </a:cubicBezTo>
                    <a:cubicBezTo>
                      <a:pt x="270" y="90"/>
                      <a:pt x="266" y="90"/>
                      <a:pt x="262" y="90"/>
                    </a:cubicBezTo>
                    <a:cubicBezTo>
                      <a:pt x="259" y="83"/>
                      <a:pt x="253" y="84"/>
                      <a:pt x="247" y="85"/>
                    </a:cubicBezTo>
                    <a:cubicBezTo>
                      <a:pt x="234" y="85"/>
                      <a:pt x="221" y="84"/>
                      <a:pt x="208" y="84"/>
                    </a:cubicBezTo>
                    <a:cubicBezTo>
                      <a:pt x="206" y="80"/>
                      <a:pt x="204" y="78"/>
                      <a:pt x="199" y="79"/>
                    </a:cubicBezTo>
                    <a:cubicBezTo>
                      <a:pt x="179" y="79"/>
                      <a:pt x="160" y="77"/>
                      <a:pt x="141" y="71"/>
                    </a:cubicBezTo>
                    <a:cubicBezTo>
                      <a:pt x="139" y="68"/>
                      <a:pt x="137" y="65"/>
                      <a:pt x="133" y="69"/>
                    </a:cubicBezTo>
                    <a:cubicBezTo>
                      <a:pt x="118" y="63"/>
                      <a:pt x="103" y="65"/>
                      <a:pt x="88" y="73"/>
                    </a:cubicBezTo>
                    <a:cubicBezTo>
                      <a:pt x="78" y="71"/>
                      <a:pt x="70" y="75"/>
                      <a:pt x="65" y="83"/>
                    </a:cubicBezTo>
                    <a:cubicBezTo>
                      <a:pt x="63" y="84"/>
                      <a:pt x="60" y="85"/>
                      <a:pt x="58" y="85"/>
                    </a:cubicBezTo>
                    <a:cubicBezTo>
                      <a:pt x="47" y="83"/>
                      <a:pt x="48" y="93"/>
                      <a:pt x="44" y="98"/>
                    </a:cubicBezTo>
                    <a:cubicBezTo>
                      <a:pt x="38" y="102"/>
                      <a:pt x="34" y="110"/>
                      <a:pt x="25" y="109"/>
                    </a:cubicBezTo>
                    <a:cubicBezTo>
                      <a:pt x="16" y="107"/>
                      <a:pt x="13" y="115"/>
                      <a:pt x="17" y="119"/>
                    </a:cubicBezTo>
                    <a:cubicBezTo>
                      <a:pt x="25" y="129"/>
                      <a:pt x="31" y="142"/>
                      <a:pt x="46" y="143"/>
                    </a:cubicBezTo>
                    <a:cubicBezTo>
                      <a:pt x="48" y="143"/>
                      <a:pt x="50" y="144"/>
                      <a:pt x="52" y="144"/>
                    </a:cubicBezTo>
                    <a:cubicBezTo>
                      <a:pt x="55" y="147"/>
                      <a:pt x="56" y="151"/>
                      <a:pt x="53" y="155"/>
                    </a:cubicBezTo>
                    <a:cubicBezTo>
                      <a:pt x="52" y="156"/>
                      <a:pt x="50" y="157"/>
                      <a:pt x="49" y="156"/>
                    </a:cubicBezTo>
                    <a:cubicBezTo>
                      <a:pt x="36" y="144"/>
                      <a:pt x="23" y="152"/>
                      <a:pt x="10" y="156"/>
                    </a:cubicBezTo>
                    <a:cubicBezTo>
                      <a:pt x="3" y="159"/>
                      <a:pt x="0" y="164"/>
                      <a:pt x="6" y="171"/>
                    </a:cubicBezTo>
                    <a:cubicBezTo>
                      <a:pt x="5" y="175"/>
                      <a:pt x="6" y="177"/>
                      <a:pt x="10" y="178"/>
                    </a:cubicBezTo>
                    <a:cubicBezTo>
                      <a:pt x="26" y="193"/>
                      <a:pt x="43" y="186"/>
                      <a:pt x="61" y="183"/>
                    </a:cubicBezTo>
                    <a:cubicBezTo>
                      <a:pt x="62" y="183"/>
                      <a:pt x="63" y="183"/>
                      <a:pt x="64" y="183"/>
                    </a:cubicBezTo>
                    <a:cubicBezTo>
                      <a:pt x="64" y="186"/>
                      <a:pt x="64" y="189"/>
                      <a:pt x="64" y="192"/>
                    </a:cubicBezTo>
                    <a:cubicBezTo>
                      <a:pt x="60" y="199"/>
                      <a:pt x="50" y="197"/>
                      <a:pt x="46" y="204"/>
                    </a:cubicBezTo>
                    <a:cubicBezTo>
                      <a:pt x="43" y="204"/>
                      <a:pt x="40" y="205"/>
                      <a:pt x="37" y="205"/>
                    </a:cubicBezTo>
                    <a:cubicBezTo>
                      <a:pt x="28" y="209"/>
                      <a:pt x="19" y="213"/>
                      <a:pt x="19" y="225"/>
                    </a:cubicBezTo>
                    <a:cubicBezTo>
                      <a:pt x="19" y="227"/>
                      <a:pt x="19" y="229"/>
                      <a:pt x="19" y="231"/>
                    </a:cubicBezTo>
                    <a:cubicBezTo>
                      <a:pt x="16" y="239"/>
                      <a:pt x="23" y="241"/>
                      <a:pt x="27" y="245"/>
                    </a:cubicBezTo>
                    <a:cubicBezTo>
                      <a:pt x="28" y="246"/>
                      <a:pt x="29" y="248"/>
                      <a:pt x="29" y="249"/>
                    </a:cubicBezTo>
                    <a:cubicBezTo>
                      <a:pt x="29" y="254"/>
                      <a:pt x="31" y="257"/>
                      <a:pt x="37" y="257"/>
                    </a:cubicBezTo>
                    <a:cubicBezTo>
                      <a:pt x="38" y="257"/>
                      <a:pt x="40" y="258"/>
                      <a:pt x="41" y="258"/>
                    </a:cubicBezTo>
                    <a:cubicBezTo>
                      <a:pt x="51" y="258"/>
                      <a:pt x="61" y="256"/>
                      <a:pt x="59" y="271"/>
                    </a:cubicBezTo>
                    <a:cubicBezTo>
                      <a:pt x="58" y="275"/>
                      <a:pt x="63" y="276"/>
                      <a:pt x="67" y="276"/>
                    </a:cubicBezTo>
                    <a:cubicBezTo>
                      <a:pt x="73" y="276"/>
                      <a:pt x="79" y="276"/>
                      <a:pt x="86" y="276"/>
                    </a:cubicBezTo>
                    <a:cubicBezTo>
                      <a:pt x="90" y="276"/>
                      <a:pt x="94" y="275"/>
                      <a:pt x="96" y="280"/>
                    </a:cubicBezTo>
                    <a:cubicBezTo>
                      <a:pt x="99" y="284"/>
                      <a:pt x="95" y="287"/>
                      <a:pt x="92" y="290"/>
                    </a:cubicBezTo>
                    <a:cubicBezTo>
                      <a:pt x="89" y="294"/>
                      <a:pt x="85" y="298"/>
                      <a:pt x="82" y="302"/>
                    </a:cubicBezTo>
                    <a:cubicBezTo>
                      <a:pt x="78" y="303"/>
                      <a:pt x="78" y="306"/>
                      <a:pt x="77" y="309"/>
                    </a:cubicBezTo>
                    <a:cubicBezTo>
                      <a:pt x="76" y="311"/>
                      <a:pt x="73" y="314"/>
                      <a:pt x="75" y="314"/>
                    </a:cubicBezTo>
                    <a:cubicBezTo>
                      <a:pt x="81" y="315"/>
                      <a:pt x="87" y="320"/>
                      <a:pt x="94" y="316"/>
                    </a:cubicBezTo>
                    <a:cubicBezTo>
                      <a:pt x="97" y="317"/>
                      <a:pt x="98" y="314"/>
                      <a:pt x="99" y="312"/>
                    </a:cubicBezTo>
                    <a:cubicBezTo>
                      <a:pt x="100" y="311"/>
                      <a:pt x="100" y="311"/>
                      <a:pt x="100" y="311"/>
                    </a:cubicBezTo>
                    <a:cubicBezTo>
                      <a:pt x="103" y="311"/>
                      <a:pt x="105" y="309"/>
                      <a:pt x="106" y="306"/>
                    </a:cubicBezTo>
                    <a:cubicBezTo>
                      <a:pt x="108" y="305"/>
                      <a:pt x="110" y="305"/>
                      <a:pt x="112" y="304"/>
                    </a:cubicBezTo>
                    <a:cubicBezTo>
                      <a:pt x="116" y="305"/>
                      <a:pt x="116" y="302"/>
                      <a:pt x="117" y="300"/>
                    </a:cubicBezTo>
                    <a:cubicBezTo>
                      <a:pt x="121" y="297"/>
                      <a:pt x="126" y="295"/>
                      <a:pt x="130" y="292"/>
                    </a:cubicBezTo>
                    <a:cubicBezTo>
                      <a:pt x="133" y="297"/>
                      <a:pt x="138" y="297"/>
                      <a:pt x="143" y="297"/>
                    </a:cubicBezTo>
                    <a:cubicBezTo>
                      <a:pt x="155" y="298"/>
                      <a:pt x="154" y="287"/>
                      <a:pt x="156" y="281"/>
                    </a:cubicBezTo>
                    <a:cubicBezTo>
                      <a:pt x="159" y="271"/>
                      <a:pt x="151" y="279"/>
                      <a:pt x="149" y="278"/>
                    </a:cubicBezTo>
                    <a:cubicBezTo>
                      <a:pt x="145" y="275"/>
                      <a:pt x="145" y="271"/>
                      <a:pt x="147" y="267"/>
                    </a:cubicBezTo>
                    <a:cubicBezTo>
                      <a:pt x="147" y="266"/>
                      <a:pt x="147" y="265"/>
                      <a:pt x="148" y="264"/>
                    </a:cubicBezTo>
                    <a:cubicBezTo>
                      <a:pt x="150" y="262"/>
                      <a:pt x="153" y="261"/>
                      <a:pt x="153" y="258"/>
                    </a:cubicBezTo>
                    <a:cubicBezTo>
                      <a:pt x="154" y="257"/>
                      <a:pt x="154" y="257"/>
                      <a:pt x="154" y="257"/>
                    </a:cubicBezTo>
                    <a:cubicBezTo>
                      <a:pt x="156" y="257"/>
                      <a:pt x="159" y="255"/>
                      <a:pt x="161" y="258"/>
                    </a:cubicBezTo>
                    <a:cubicBezTo>
                      <a:pt x="160" y="261"/>
                      <a:pt x="161" y="263"/>
                      <a:pt x="164" y="264"/>
                    </a:cubicBezTo>
                    <a:cubicBezTo>
                      <a:pt x="168" y="268"/>
                      <a:pt x="173" y="274"/>
                      <a:pt x="178" y="264"/>
                    </a:cubicBezTo>
                    <a:cubicBezTo>
                      <a:pt x="188" y="260"/>
                      <a:pt x="204" y="262"/>
                      <a:pt x="202" y="243"/>
                    </a:cubicBezTo>
                    <a:cubicBezTo>
                      <a:pt x="215" y="249"/>
                      <a:pt x="229" y="254"/>
                      <a:pt x="244" y="252"/>
                    </a:cubicBezTo>
                    <a:cubicBezTo>
                      <a:pt x="244" y="252"/>
                      <a:pt x="244" y="252"/>
                      <a:pt x="244" y="252"/>
                    </a:cubicBezTo>
                    <a:cubicBezTo>
                      <a:pt x="245" y="253"/>
                      <a:pt x="247" y="255"/>
                      <a:pt x="249" y="253"/>
                    </a:cubicBezTo>
                    <a:cubicBezTo>
                      <a:pt x="252" y="255"/>
                      <a:pt x="254" y="253"/>
                      <a:pt x="257" y="253"/>
                    </a:cubicBezTo>
                    <a:cubicBezTo>
                      <a:pt x="259" y="256"/>
                      <a:pt x="261" y="258"/>
                      <a:pt x="265" y="257"/>
                    </a:cubicBezTo>
                    <a:cubicBezTo>
                      <a:pt x="268" y="257"/>
                      <a:pt x="271" y="258"/>
                      <a:pt x="274" y="258"/>
                    </a:cubicBezTo>
                    <a:cubicBezTo>
                      <a:pt x="279" y="264"/>
                      <a:pt x="283" y="270"/>
                      <a:pt x="292" y="270"/>
                    </a:cubicBezTo>
                    <a:cubicBezTo>
                      <a:pt x="293" y="271"/>
                      <a:pt x="294" y="272"/>
                      <a:pt x="295" y="273"/>
                    </a:cubicBezTo>
                    <a:cubicBezTo>
                      <a:pt x="299" y="277"/>
                      <a:pt x="301" y="282"/>
                      <a:pt x="308" y="280"/>
                    </a:cubicBezTo>
                    <a:cubicBezTo>
                      <a:pt x="315" y="278"/>
                      <a:pt x="318" y="283"/>
                      <a:pt x="318" y="289"/>
                    </a:cubicBezTo>
                    <a:cubicBezTo>
                      <a:pt x="318" y="303"/>
                      <a:pt x="326" y="300"/>
                      <a:pt x="334" y="298"/>
                    </a:cubicBezTo>
                    <a:cubicBezTo>
                      <a:pt x="335" y="299"/>
                      <a:pt x="336" y="299"/>
                      <a:pt x="337" y="300"/>
                    </a:cubicBezTo>
                    <a:cubicBezTo>
                      <a:pt x="337" y="304"/>
                      <a:pt x="337" y="308"/>
                      <a:pt x="343" y="306"/>
                    </a:cubicBezTo>
                    <a:cubicBezTo>
                      <a:pt x="346" y="306"/>
                      <a:pt x="349" y="306"/>
                      <a:pt x="352" y="306"/>
                    </a:cubicBezTo>
                    <a:cubicBezTo>
                      <a:pt x="345" y="326"/>
                      <a:pt x="345" y="326"/>
                      <a:pt x="366" y="328"/>
                    </a:cubicBezTo>
                    <a:cubicBezTo>
                      <a:pt x="368" y="328"/>
                      <a:pt x="369" y="329"/>
                      <a:pt x="370" y="330"/>
                    </a:cubicBezTo>
                    <a:cubicBezTo>
                      <a:pt x="370" y="330"/>
                      <a:pt x="370" y="330"/>
                      <a:pt x="370" y="330"/>
                    </a:cubicBezTo>
                    <a:cubicBezTo>
                      <a:pt x="372" y="343"/>
                      <a:pt x="380" y="350"/>
                      <a:pt x="391" y="356"/>
                    </a:cubicBezTo>
                    <a:cubicBezTo>
                      <a:pt x="392" y="357"/>
                      <a:pt x="393" y="359"/>
                      <a:pt x="395" y="360"/>
                    </a:cubicBezTo>
                    <a:cubicBezTo>
                      <a:pt x="396" y="365"/>
                      <a:pt x="403" y="368"/>
                      <a:pt x="397" y="375"/>
                    </a:cubicBezTo>
                    <a:cubicBezTo>
                      <a:pt x="394" y="379"/>
                      <a:pt x="394" y="391"/>
                      <a:pt x="398" y="393"/>
                    </a:cubicBezTo>
                    <a:cubicBezTo>
                      <a:pt x="416" y="402"/>
                      <a:pt x="425" y="417"/>
                      <a:pt x="436" y="432"/>
                    </a:cubicBezTo>
                    <a:cubicBezTo>
                      <a:pt x="437" y="462"/>
                      <a:pt x="434" y="492"/>
                      <a:pt x="438" y="522"/>
                    </a:cubicBezTo>
                    <a:cubicBezTo>
                      <a:pt x="443" y="535"/>
                      <a:pt x="446" y="549"/>
                      <a:pt x="460" y="557"/>
                    </a:cubicBezTo>
                    <a:cubicBezTo>
                      <a:pt x="460" y="558"/>
                      <a:pt x="461" y="560"/>
                      <a:pt x="462" y="561"/>
                    </a:cubicBezTo>
                    <a:cubicBezTo>
                      <a:pt x="465" y="574"/>
                      <a:pt x="475" y="581"/>
                      <a:pt x="485" y="587"/>
                    </a:cubicBezTo>
                    <a:cubicBezTo>
                      <a:pt x="495" y="593"/>
                      <a:pt x="503" y="600"/>
                      <a:pt x="508" y="609"/>
                    </a:cubicBezTo>
                    <a:cubicBezTo>
                      <a:pt x="520" y="632"/>
                      <a:pt x="531" y="656"/>
                      <a:pt x="551" y="674"/>
                    </a:cubicBezTo>
                    <a:cubicBezTo>
                      <a:pt x="553" y="676"/>
                      <a:pt x="556" y="679"/>
                      <a:pt x="556" y="681"/>
                    </a:cubicBezTo>
                    <a:cubicBezTo>
                      <a:pt x="554" y="694"/>
                      <a:pt x="563" y="694"/>
                      <a:pt x="572" y="695"/>
                    </a:cubicBezTo>
                    <a:cubicBezTo>
                      <a:pt x="572" y="695"/>
                      <a:pt x="572" y="695"/>
                      <a:pt x="572" y="695"/>
                    </a:cubicBezTo>
                    <a:cubicBezTo>
                      <a:pt x="574" y="697"/>
                      <a:pt x="575" y="698"/>
                      <a:pt x="576" y="701"/>
                    </a:cubicBezTo>
                    <a:cubicBezTo>
                      <a:pt x="578" y="704"/>
                      <a:pt x="581" y="707"/>
                      <a:pt x="584" y="704"/>
                    </a:cubicBezTo>
                    <a:cubicBezTo>
                      <a:pt x="588" y="701"/>
                      <a:pt x="583" y="698"/>
                      <a:pt x="582" y="694"/>
                    </a:cubicBezTo>
                    <a:cubicBezTo>
                      <a:pt x="582" y="693"/>
                      <a:pt x="577" y="693"/>
                      <a:pt x="574" y="693"/>
                    </a:cubicBezTo>
                    <a:cubicBezTo>
                      <a:pt x="574" y="689"/>
                      <a:pt x="574" y="685"/>
                      <a:pt x="574" y="681"/>
                    </a:cubicBezTo>
                    <a:cubicBezTo>
                      <a:pt x="574" y="678"/>
                      <a:pt x="572" y="673"/>
                      <a:pt x="575" y="671"/>
                    </a:cubicBezTo>
                    <a:cubicBezTo>
                      <a:pt x="580" y="669"/>
                      <a:pt x="582" y="674"/>
                      <a:pt x="584" y="677"/>
                    </a:cubicBezTo>
                    <a:cubicBezTo>
                      <a:pt x="597" y="689"/>
                      <a:pt x="610" y="701"/>
                      <a:pt x="622" y="714"/>
                    </a:cubicBezTo>
                    <a:cubicBezTo>
                      <a:pt x="622" y="721"/>
                      <a:pt x="623" y="728"/>
                      <a:pt x="623" y="735"/>
                    </a:cubicBezTo>
                    <a:cubicBezTo>
                      <a:pt x="624" y="747"/>
                      <a:pt x="640" y="760"/>
                      <a:pt x="655" y="761"/>
                    </a:cubicBezTo>
                    <a:cubicBezTo>
                      <a:pt x="655" y="761"/>
                      <a:pt x="655" y="761"/>
                      <a:pt x="655" y="761"/>
                    </a:cubicBezTo>
                    <a:cubicBezTo>
                      <a:pt x="656" y="762"/>
                      <a:pt x="658" y="762"/>
                      <a:pt x="659" y="763"/>
                    </a:cubicBezTo>
                    <a:cubicBezTo>
                      <a:pt x="661" y="769"/>
                      <a:pt x="668" y="769"/>
                      <a:pt x="672" y="770"/>
                    </a:cubicBezTo>
                    <a:cubicBezTo>
                      <a:pt x="688" y="774"/>
                      <a:pt x="702" y="785"/>
                      <a:pt x="719" y="780"/>
                    </a:cubicBezTo>
                    <a:cubicBezTo>
                      <a:pt x="723" y="780"/>
                      <a:pt x="726" y="780"/>
                      <a:pt x="730" y="779"/>
                    </a:cubicBezTo>
                    <a:cubicBezTo>
                      <a:pt x="740" y="781"/>
                      <a:pt x="745" y="790"/>
                      <a:pt x="751" y="796"/>
                    </a:cubicBezTo>
                    <a:cubicBezTo>
                      <a:pt x="756" y="801"/>
                      <a:pt x="761" y="805"/>
                      <a:pt x="769" y="803"/>
                    </a:cubicBezTo>
                    <a:cubicBezTo>
                      <a:pt x="772" y="804"/>
                      <a:pt x="775" y="804"/>
                      <a:pt x="778" y="804"/>
                    </a:cubicBezTo>
                    <a:cubicBezTo>
                      <a:pt x="780" y="810"/>
                      <a:pt x="785" y="810"/>
                      <a:pt x="790" y="809"/>
                    </a:cubicBezTo>
                    <a:cubicBezTo>
                      <a:pt x="792" y="809"/>
                      <a:pt x="794" y="810"/>
                      <a:pt x="796" y="810"/>
                    </a:cubicBezTo>
                    <a:cubicBezTo>
                      <a:pt x="798" y="814"/>
                      <a:pt x="800" y="816"/>
                      <a:pt x="804" y="817"/>
                    </a:cubicBezTo>
                    <a:cubicBezTo>
                      <a:pt x="810" y="826"/>
                      <a:pt x="816" y="837"/>
                      <a:pt x="823" y="843"/>
                    </a:cubicBezTo>
                    <a:cubicBezTo>
                      <a:pt x="832" y="851"/>
                      <a:pt x="843" y="860"/>
                      <a:pt x="855" y="862"/>
                    </a:cubicBezTo>
                    <a:cubicBezTo>
                      <a:pt x="861" y="864"/>
                      <a:pt x="876" y="879"/>
                      <a:pt x="879" y="856"/>
                    </a:cubicBezTo>
                    <a:cubicBezTo>
                      <a:pt x="879" y="854"/>
                      <a:pt x="890" y="845"/>
                      <a:pt x="893" y="855"/>
                    </a:cubicBezTo>
                    <a:cubicBezTo>
                      <a:pt x="895" y="864"/>
                      <a:pt x="901" y="869"/>
                      <a:pt x="904" y="876"/>
                    </a:cubicBezTo>
                    <a:cubicBezTo>
                      <a:pt x="909" y="889"/>
                      <a:pt x="906" y="906"/>
                      <a:pt x="896" y="916"/>
                    </a:cubicBezTo>
                    <a:cubicBezTo>
                      <a:pt x="890" y="921"/>
                      <a:pt x="890" y="926"/>
                      <a:pt x="896" y="931"/>
                    </a:cubicBezTo>
                    <a:cubicBezTo>
                      <a:pt x="900" y="934"/>
                      <a:pt x="905" y="938"/>
                      <a:pt x="910" y="938"/>
                    </a:cubicBezTo>
                    <a:cubicBezTo>
                      <a:pt x="918" y="939"/>
                      <a:pt x="924" y="942"/>
                      <a:pt x="925" y="950"/>
                    </a:cubicBezTo>
                    <a:cubicBezTo>
                      <a:pt x="925" y="959"/>
                      <a:pt x="918" y="966"/>
                      <a:pt x="910" y="968"/>
                    </a:cubicBezTo>
                    <a:cubicBezTo>
                      <a:pt x="901" y="971"/>
                      <a:pt x="896" y="974"/>
                      <a:pt x="893" y="983"/>
                    </a:cubicBezTo>
                    <a:cubicBezTo>
                      <a:pt x="890" y="992"/>
                      <a:pt x="883" y="989"/>
                      <a:pt x="877" y="984"/>
                    </a:cubicBezTo>
                    <a:cubicBezTo>
                      <a:pt x="876" y="982"/>
                      <a:pt x="877" y="976"/>
                      <a:pt x="872" y="978"/>
                    </a:cubicBezTo>
                    <a:cubicBezTo>
                      <a:pt x="869" y="980"/>
                      <a:pt x="866" y="983"/>
                      <a:pt x="867" y="987"/>
                    </a:cubicBezTo>
                    <a:cubicBezTo>
                      <a:pt x="869" y="993"/>
                      <a:pt x="867" y="1001"/>
                      <a:pt x="873" y="1006"/>
                    </a:cubicBezTo>
                    <a:cubicBezTo>
                      <a:pt x="889" y="1019"/>
                      <a:pt x="894" y="1040"/>
                      <a:pt x="905" y="1057"/>
                    </a:cubicBezTo>
                    <a:cubicBezTo>
                      <a:pt x="915" y="1075"/>
                      <a:pt x="918" y="1099"/>
                      <a:pt x="943" y="1105"/>
                    </a:cubicBezTo>
                    <a:cubicBezTo>
                      <a:pt x="945" y="1105"/>
                      <a:pt x="946" y="1106"/>
                      <a:pt x="948" y="1107"/>
                    </a:cubicBezTo>
                    <a:cubicBezTo>
                      <a:pt x="973" y="1119"/>
                      <a:pt x="981" y="1133"/>
                      <a:pt x="979" y="1158"/>
                    </a:cubicBezTo>
                    <a:cubicBezTo>
                      <a:pt x="978" y="1162"/>
                      <a:pt x="977" y="1167"/>
                      <a:pt x="976" y="1171"/>
                    </a:cubicBezTo>
                    <a:cubicBezTo>
                      <a:pt x="972" y="1197"/>
                      <a:pt x="968" y="1223"/>
                      <a:pt x="965" y="1249"/>
                    </a:cubicBezTo>
                    <a:cubicBezTo>
                      <a:pt x="963" y="1274"/>
                      <a:pt x="961" y="1299"/>
                      <a:pt x="949" y="1322"/>
                    </a:cubicBezTo>
                    <a:cubicBezTo>
                      <a:pt x="945" y="1331"/>
                      <a:pt x="940" y="1339"/>
                      <a:pt x="943" y="1349"/>
                    </a:cubicBezTo>
                    <a:cubicBezTo>
                      <a:pt x="946" y="1357"/>
                      <a:pt x="943" y="1365"/>
                      <a:pt x="942" y="1374"/>
                    </a:cubicBezTo>
                    <a:cubicBezTo>
                      <a:pt x="940" y="1384"/>
                      <a:pt x="933" y="1395"/>
                      <a:pt x="939" y="1407"/>
                    </a:cubicBezTo>
                    <a:cubicBezTo>
                      <a:pt x="945" y="1403"/>
                      <a:pt x="942" y="1398"/>
                      <a:pt x="943" y="1394"/>
                    </a:cubicBezTo>
                    <a:cubicBezTo>
                      <a:pt x="944" y="1391"/>
                      <a:pt x="941" y="1386"/>
                      <a:pt x="947" y="1386"/>
                    </a:cubicBezTo>
                    <a:cubicBezTo>
                      <a:pt x="952" y="1387"/>
                      <a:pt x="952" y="1392"/>
                      <a:pt x="951" y="1396"/>
                    </a:cubicBezTo>
                    <a:cubicBezTo>
                      <a:pt x="949" y="1407"/>
                      <a:pt x="946" y="1417"/>
                      <a:pt x="946" y="1428"/>
                    </a:cubicBezTo>
                    <a:cubicBezTo>
                      <a:pt x="946" y="1431"/>
                      <a:pt x="946" y="1440"/>
                      <a:pt x="936" y="1435"/>
                    </a:cubicBezTo>
                    <a:cubicBezTo>
                      <a:pt x="931" y="1432"/>
                      <a:pt x="929" y="1438"/>
                      <a:pt x="927" y="1442"/>
                    </a:cubicBezTo>
                    <a:cubicBezTo>
                      <a:pt x="925" y="1447"/>
                      <a:pt x="928" y="1449"/>
                      <a:pt x="932" y="1449"/>
                    </a:cubicBezTo>
                    <a:cubicBezTo>
                      <a:pt x="943" y="1449"/>
                      <a:pt x="928" y="1463"/>
                      <a:pt x="939" y="1463"/>
                    </a:cubicBezTo>
                    <a:cubicBezTo>
                      <a:pt x="936" y="1465"/>
                      <a:pt x="933" y="1467"/>
                      <a:pt x="929" y="1466"/>
                    </a:cubicBezTo>
                    <a:cubicBezTo>
                      <a:pt x="927" y="1466"/>
                      <a:pt x="925" y="1467"/>
                      <a:pt x="924" y="1468"/>
                    </a:cubicBezTo>
                    <a:cubicBezTo>
                      <a:pt x="923" y="1474"/>
                      <a:pt x="934" y="1471"/>
                      <a:pt x="931" y="1479"/>
                    </a:cubicBezTo>
                    <a:cubicBezTo>
                      <a:pt x="928" y="1479"/>
                      <a:pt x="924" y="1479"/>
                      <a:pt x="926" y="1483"/>
                    </a:cubicBezTo>
                    <a:cubicBezTo>
                      <a:pt x="926" y="1485"/>
                      <a:pt x="928" y="1486"/>
                      <a:pt x="929" y="1487"/>
                    </a:cubicBezTo>
                    <a:cubicBezTo>
                      <a:pt x="931" y="1485"/>
                      <a:pt x="932" y="1483"/>
                      <a:pt x="933" y="1481"/>
                    </a:cubicBezTo>
                    <a:cubicBezTo>
                      <a:pt x="933" y="1481"/>
                      <a:pt x="934" y="1481"/>
                      <a:pt x="934" y="1480"/>
                    </a:cubicBezTo>
                    <a:cubicBezTo>
                      <a:pt x="935" y="1480"/>
                      <a:pt x="935" y="1480"/>
                      <a:pt x="936" y="1480"/>
                    </a:cubicBezTo>
                    <a:cubicBezTo>
                      <a:pt x="938" y="1483"/>
                      <a:pt x="937" y="1487"/>
                      <a:pt x="936" y="1490"/>
                    </a:cubicBezTo>
                    <a:cubicBezTo>
                      <a:pt x="935" y="1496"/>
                      <a:pt x="925" y="1501"/>
                      <a:pt x="934" y="1507"/>
                    </a:cubicBezTo>
                    <a:cubicBezTo>
                      <a:pt x="940" y="1510"/>
                      <a:pt x="943" y="1518"/>
                      <a:pt x="951" y="1515"/>
                    </a:cubicBezTo>
                    <a:cubicBezTo>
                      <a:pt x="951" y="1522"/>
                      <a:pt x="944" y="1525"/>
                      <a:pt x="947" y="1532"/>
                    </a:cubicBezTo>
                    <a:cubicBezTo>
                      <a:pt x="952" y="1530"/>
                      <a:pt x="958" y="1526"/>
                      <a:pt x="965" y="1531"/>
                    </a:cubicBezTo>
                    <a:cubicBezTo>
                      <a:pt x="955" y="1531"/>
                      <a:pt x="950" y="1538"/>
                      <a:pt x="943" y="1543"/>
                    </a:cubicBezTo>
                    <a:cubicBezTo>
                      <a:pt x="953" y="1545"/>
                      <a:pt x="962" y="1546"/>
                      <a:pt x="967" y="1535"/>
                    </a:cubicBezTo>
                    <a:cubicBezTo>
                      <a:pt x="968" y="1531"/>
                      <a:pt x="969" y="1528"/>
                      <a:pt x="973" y="1527"/>
                    </a:cubicBezTo>
                    <a:cubicBezTo>
                      <a:pt x="973" y="1533"/>
                      <a:pt x="979" y="1535"/>
                      <a:pt x="980" y="1539"/>
                    </a:cubicBezTo>
                    <a:cubicBezTo>
                      <a:pt x="981" y="1542"/>
                      <a:pt x="977" y="1546"/>
                      <a:pt x="972" y="1546"/>
                    </a:cubicBezTo>
                    <a:cubicBezTo>
                      <a:pt x="969" y="1545"/>
                      <a:pt x="964" y="1543"/>
                      <a:pt x="964" y="1548"/>
                    </a:cubicBezTo>
                    <a:cubicBezTo>
                      <a:pt x="963" y="1551"/>
                      <a:pt x="968" y="1557"/>
                      <a:pt x="970" y="1557"/>
                    </a:cubicBezTo>
                    <a:cubicBezTo>
                      <a:pt x="976" y="1555"/>
                      <a:pt x="979" y="1561"/>
                      <a:pt x="984" y="1562"/>
                    </a:cubicBezTo>
                    <a:cubicBezTo>
                      <a:pt x="999" y="1566"/>
                      <a:pt x="1010" y="1557"/>
                      <a:pt x="1024" y="1556"/>
                    </a:cubicBezTo>
                    <a:cubicBezTo>
                      <a:pt x="1003" y="1545"/>
                      <a:pt x="994" y="1532"/>
                      <a:pt x="990" y="1516"/>
                    </a:cubicBezTo>
                    <a:cubicBezTo>
                      <a:pt x="984" y="1493"/>
                      <a:pt x="1001" y="1485"/>
                      <a:pt x="1011" y="1472"/>
                    </a:cubicBezTo>
                    <a:cubicBezTo>
                      <a:pt x="1017" y="1464"/>
                      <a:pt x="1025" y="1458"/>
                      <a:pt x="1011" y="1449"/>
                    </a:cubicBezTo>
                    <a:cubicBezTo>
                      <a:pt x="1001" y="1443"/>
                      <a:pt x="1000" y="1436"/>
                      <a:pt x="1013" y="1431"/>
                    </a:cubicBezTo>
                    <a:cubicBezTo>
                      <a:pt x="1018" y="1429"/>
                      <a:pt x="1023" y="1424"/>
                      <a:pt x="1024" y="1419"/>
                    </a:cubicBezTo>
                    <a:cubicBezTo>
                      <a:pt x="1025" y="1407"/>
                      <a:pt x="1032" y="1400"/>
                      <a:pt x="1044" y="1395"/>
                    </a:cubicBezTo>
                    <a:cubicBezTo>
                      <a:pt x="1041" y="1393"/>
                      <a:pt x="1039" y="1392"/>
                      <a:pt x="1038" y="1392"/>
                    </a:cubicBezTo>
                    <a:cubicBezTo>
                      <a:pt x="1029" y="1395"/>
                      <a:pt x="1028" y="1390"/>
                      <a:pt x="1027" y="1382"/>
                    </a:cubicBezTo>
                    <a:cubicBezTo>
                      <a:pt x="1027" y="1373"/>
                      <a:pt x="1034" y="1376"/>
                      <a:pt x="1038" y="1377"/>
                    </a:cubicBezTo>
                    <a:cubicBezTo>
                      <a:pt x="1053" y="1383"/>
                      <a:pt x="1056" y="1371"/>
                      <a:pt x="1056" y="1362"/>
                    </a:cubicBezTo>
                    <a:cubicBezTo>
                      <a:pt x="1057" y="1353"/>
                      <a:pt x="1061" y="1352"/>
                      <a:pt x="1067" y="1353"/>
                    </a:cubicBezTo>
                    <a:cubicBezTo>
                      <a:pt x="1077" y="1354"/>
                      <a:pt x="1087" y="1351"/>
                      <a:pt x="1096" y="1347"/>
                    </a:cubicBezTo>
                    <a:cubicBezTo>
                      <a:pt x="1104" y="1343"/>
                      <a:pt x="1114" y="1336"/>
                      <a:pt x="1110" y="1326"/>
                    </a:cubicBezTo>
                    <a:cubicBezTo>
                      <a:pt x="1107" y="1319"/>
                      <a:pt x="1106" y="1311"/>
                      <a:pt x="1101" y="1304"/>
                    </a:cubicBezTo>
                    <a:cubicBezTo>
                      <a:pt x="1105" y="1302"/>
                      <a:pt x="1108" y="1303"/>
                      <a:pt x="1112" y="1304"/>
                    </a:cubicBezTo>
                    <a:cubicBezTo>
                      <a:pt x="1132" y="1309"/>
                      <a:pt x="1143" y="1304"/>
                      <a:pt x="1153" y="1285"/>
                    </a:cubicBezTo>
                    <a:cubicBezTo>
                      <a:pt x="1158" y="1275"/>
                      <a:pt x="1162" y="1264"/>
                      <a:pt x="1169" y="1254"/>
                    </a:cubicBezTo>
                    <a:cubicBezTo>
                      <a:pt x="1170" y="1256"/>
                      <a:pt x="1171" y="1257"/>
                      <a:pt x="1171" y="1259"/>
                    </a:cubicBezTo>
                    <a:cubicBezTo>
                      <a:pt x="1171" y="1260"/>
                      <a:pt x="1171" y="1263"/>
                      <a:pt x="1174" y="1262"/>
                    </a:cubicBezTo>
                    <a:cubicBezTo>
                      <a:pt x="1182" y="1245"/>
                      <a:pt x="1198" y="1231"/>
                      <a:pt x="1195" y="1209"/>
                    </a:cubicBezTo>
                    <a:cubicBezTo>
                      <a:pt x="1194" y="1207"/>
                      <a:pt x="1195" y="1205"/>
                      <a:pt x="1196" y="1204"/>
                    </a:cubicBezTo>
                    <a:cubicBezTo>
                      <a:pt x="1210" y="1190"/>
                      <a:pt x="1227" y="1177"/>
                      <a:pt x="1247" y="1177"/>
                    </a:cubicBezTo>
                    <a:cubicBezTo>
                      <a:pt x="1260" y="1176"/>
                      <a:pt x="1267" y="1171"/>
                      <a:pt x="1271" y="1163"/>
                    </a:cubicBezTo>
                    <a:cubicBezTo>
                      <a:pt x="1284" y="1139"/>
                      <a:pt x="1294" y="1115"/>
                      <a:pt x="1291" y="1087"/>
                    </a:cubicBezTo>
                    <a:cubicBezTo>
                      <a:pt x="1291" y="1081"/>
                      <a:pt x="1290" y="1073"/>
                      <a:pt x="1297" y="1072"/>
                    </a:cubicBezTo>
                    <a:cubicBezTo>
                      <a:pt x="1303" y="1070"/>
                      <a:pt x="1304" y="1065"/>
                      <a:pt x="1306" y="1061"/>
                    </a:cubicBezTo>
                    <a:cubicBezTo>
                      <a:pt x="1310" y="1056"/>
                      <a:pt x="1313" y="1050"/>
                      <a:pt x="1319" y="1046"/>
                    </a:cubicBezTo>
                    <a:cubicBezTo>
                      <a:pt x="1331" y="1038"/>
                      <a:pt x="1335" y="1025"/>
                      <a:pt x="1333" y="1011"/>
                    </a:cubicBezTo>
                    <a:cubicBezTo>
                      <a:pt x="1332" y="1000"/>
                      <a:pt x="1328" y="991"/>
                      <a:pt x="1314" y="992"/>
                    </a:cubicBezTo>
                    <a:close/>
                    <a:moveTo>
                      <a:pt x="718" y="93"/>
                    </a:moveTo>
                    <a:cubicBezTo>
                      <a:pt x="718" y="93"/>
                      <a:pt x="718" y="94"/>
                      <a:pt x="718" y="95"/>
                    </a:cubicBezTo>
                    <a:cubicBezTo>
                      <a:pt x="721" y="98"/>
                      <a:pt x="731" y="92"/>
                      <a:pt x="730" y="102"/>
                    </a:cubicBezTo>
                    <a:cubicBezTo>
                      <a:pt x="736" y="100"/>
                      <a:pt x="736" y="104"/>
                      <a:pt x="737" y="108"/>
                    </a:cubicBezTo>
                    <a:cubicBezTo>
                      <a:pt x="736" y="115"/>
                      <a:pt x="731" y="118"/>
                      <a:pt x="727" y="122"/>
                    </a:cubicBezTo>
                    <a:cubicBezTo>
                      <a:pt x="725" y="124"/>
                      <a:pt x="722" y="128"/>
                      <a:pt x="720" y="125"/>
                    </a:cubicBezTo>
                    <a:cubicBezTo>
                      <a:pt x="717" y="123"/>
                      <a:pt x="717" y="119"/>
                      <a:pt x="716" y="116"/>
                    </a:cubicBezTo>
                    <a:cubicBezTo>
                      <a:pt x="716" y="112"/>
                      <a:pt x="719" y="111"/>
                      <a:pt x="722" y="111"/>
                    </a:cubicBezTo>
                    <a:cubicBezTo>
                      <a:pt x="730" y="112"/>
                      <a:pt x="732" y="109"/>
                      <a:pt x="730" y="102"/>
                    </a:cubicBezTo>
                    <a:cubicBezTo>
                      <a:pt x="726" y="100"/>
                      <a:pt x="716" y="107"/>
                      <a:pt x="718" y="95"/>
                    </a:cubicBezTo>
                    <a:cubicBezTo>
                      <a:pt x="718" y="94"/>
                      <a:pt x="718" y="93"/>
                      <a:pt x="718" y="93"/>
                    </a:cubicBezTo>
                    <a:cubicBezTo>
                      <a:pt x="717" y="92"/>
                      <a:pt x="716" y="91"/>
                      <a:pt x="715" y="90"/>
                    </a:cubicBezTo>
                    <a:cubicBezTo>
                      <a:pt x="716" y="91"/>
                      <a:pt x="717" y="92"/>
                      <a:pt x="718" y="93"/>
                    </a:cubicBezTo>
                    <a:close/>
                    <a:moveTo>
                      <a:pt x="537" y="621"/>
                    </a:moveTo>
                    <a:cubicBezTo>
                      <a:pt x="540" y="616"/>
                      <a:pt x="546" y="616"/>
                      <a:pt x="548" y="619"/>
                    </a:cubicBezTo>
                    <a:cubicBezTo>
                      <a:pt x="552" y="624"/>
                      <a:pt x="551" y="630"/>
                      <a:pt x="547" y="635"/>
                    </a:cubicBezTo>
                    <a:cubicBezTo>
                      <a:pt x="544" y="630"/>
                      <a:pt x="541" y="626"/>
                      <a:pt x="537" y="6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38CB7645-D73B-51B8-001A-A5DB78105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931" y="1311977"/>
                <a:ext cx="1444590" cy="1106350"/>
              </a:xfrm>
              <a:custGeom>
                <a:avLst/>
                <a:gdLst>
                  <a:gd name="T0" fmla="*/ 468 w 606"/>
                  <a:gd name="T1" fmla="*/ 290 h 464"/>
                  <a:gd name="T2" fmla="*/ 506 w 606"/>
                  <a:gd name="T3" fmla="*/ 290 h 464"/>
                  <a:gd name="T4" fmla="*/ 501 w 606"/>
                  <a:gd name="T5" fmla="*/ 265 h 464"/>
                  <a:gd name="T6" fmla="*/ 498 w 606"/>
                  <a:gd name="T7" fmla="*/ 254 h 464"/>
                  <a:gd name="T8" fmla="*/ 499 w 606"/>
                  <a:gd name="T9" fmla="*/ 242 h 464"/>
                  <a:gd name="T10" fmla="*/ 478 w 606"/>
                  <a:gd name="T11" fmla="*/ 241 h 464"/>
                  <a:gd name="T12" fmla="*/ 495 w 606"/>
                  <a:gd name="T13" fmla="*/ 232 h 464"/>
                  <a:gd name="T14" fmla="*/ 522 w 606"/>
                  <a:gd name="T15" fmla="*/ 232 h 464"/>
                  <a:gd name="T16" fmla="*/ 512 w 606"/>
                  <a:gd name="T17" fmla="*/ 219 h 464"/>
                  <a:gd name="T18" fmla="*/ 517 w 606"/>
                  <a:gd name="T19" fmla="*/ 200 h 464"/>
                  <a:gd name="T20" fmla="*/ 537 w 606"/>
                  <a:gd name="T21" fmla="*/ 189 h 464"/>
                  <a:gd name="T22" fmla="*/ 503 w 606"/>
                  <a:gd name="T23" fmla="*/ 166 h 464"/>
                  <a:gd name="T24" fmla="*/ 546 w 606"/>
                  <a:gd name="T25" fmla="*/ 159 h 464"/>
                  <a:gd name="T26" fmla="*/ 523 w 606"/>
                  <a:gd name="T27" fmla="*/ 150 h 464"/>
                  <a:gd name="T28" fmla="*/ 512 w 606"/>
                  <a:gd name="T29" fmla="*/ 145 h 464"/>
                  <a:gd name="T30" fmla="*/ 561 w 606"/>
                  <a:gd name="T31" fmla="*/ 86 h 464"/>
                  <a:gd name="T32" fmla="*/ 606 w 606"/>
                  <a:gd name="T33" fmla="*/ 59 h 464"/>
                  <a:gd name="T34" fmla="*/ 555 w 606"/>
                  <a:gd name="T35" fmla="*/ 55 h 464"/>
                  <a:gd name="T36" fmla="*/ 516 w 606"/>
                  <a:gd name="T37" fmla="*/ 61 h 464"/>
                  <a:gd name="T38" fmla="*/ 502 w 606"/>
                  <a:gd name="T39" fmla="*/ 62 h 464"/>
                  <a:gd name="T40" fmla="*/ 489 w 606"/>
                  <a:gd name="T41" fmla="*/ 50 h 464"/>
                  <a:gd name="T42" fmla="*/ 469 w 606"/>
                  <a:gd name="T43" fmla="*/ 51 h 464"/>
                  <a:gd name="T44" fmla="*/ 410 w 606"/>
                  <a:gd name="T45" fmla="*/ 50 h 464"/>
                  <a:gd name="T46" fmla="*/ 509 w 606"/>
                  <a:gd name="T47" fmla="*/ 32 h 464"/>
                  <a:gd name="T48" fmla="*/ 471 w 606"/>
                  <a:gd name="T49" fmla="*/ 16 h 464"/>
                  <a:gd name="T50" fmla="*/ 441 w 606"/>
                  <a:gd name="T51" fmla="*/ 12 h 464"/>
                  <a:gd name="T52" fmla="*/ 337 w 606"/>
                  <a:gd name="T53" fmla="*/ 19 h 464"/>
                  <a:gd name="T54" fmla="*/ 270 w 606"/>
                  <a:gd name="T55" fmla="*/ 30 h 464"/>
                  <a:gd name="T56" fmla="*/ 263 w 606"/>
                  <a:gd name="T57" fmla="*/ 46 h 464"/>
                  <a:gd name="T58" fmla="*/ 220 w 606"/>
                  <a:gd name="T59" fmla="*/ 36 h 464"/>
                  <a:gd name="T60" fmla="*/ 207 w 606"/>
                  <a:gd name="T61" fmla="*/ 44 h 464"/>
                  <a:gd name="T62" fmla="*/ 192 w 606"/>
                  <a:gd name="T63" fmla="*/ 56 h 464"/>
                  <a:gd name="T64" fmla="*/ 184 w 606"/>
                  <a:gd name="T65" fmla="*/ 39 h 464"/>
                  <a:gd name="T66" fmla="*/ 131 w 606"/>
                  <a:gd name="T67" fmla="*/ 50 h 464"/>
                  <a:gd name="T68" fmla="*/ 103 w 606"/>
                  <a:gd name="T69" fmla="*/ 68 h 464"/>
                  <a:gd name="T70" fmla="*/ 70 w 606"/>
                  <a:gd name="T71" fmla="*/ 92 h 464"/>
                  <a:gd name="T72" fmla="*/ 55 w 606"/>
                  <a:gd name="T73" fmla="*/ 116 h 464"/>
                  <a:gd name="T74" fmla="*/ 0 w 606"/>
                  <a:gd name="T75" fmla="*/ 134 h 464"/>
                  <a:gd name="T76" fmla="*/ 38 w 606"/>
                  <a:gd name="T77" fmla="*/ 150 h 464"/>
                  <a:gd name="T78" fmla="*/ 31 w 606"/>
                  <a:gd name="T79" fmla="*/ 167 h 464"/>
                  <a:gd name="T80" fmla="*/ 74 w 606"/>
                  <a:gd name="T81" fmla="*/ 177 h 464"/>
                  <a:gd name="T82" fmla="*/ 159 w 606"/>
                  <a:gd name="T83" fmla="*/ 212 h 464"/>
                  <a:gd name="T84" fmla="*/ 172 w 606"/>
                  <a:gd name="T85" fmla="*/ 267 h 464"/>
                  <a:gd name="T86" fmla="*/ 194 w 606"/>
                  <a:gd name="T87" fmla="*/ 269 h 464"/>
                  <a:gd name="T88" fmla="*/ 212 w 606"/>
                  <a:gd name="T89" fmla="*/ 286 h 464"/>
                  <a:gd name="T90" fmla="*/ 179 w 606"/>
                  <a:gd name="T91" fmla="*/ 304 h 464"/>
                  <a:gd name="T92" fmla="*/ 199 w 606"/>
                  <a:gd name="T93" fmla="*/ 297 h 464"/>
                  <a:gd name="T94" fmla="*/ 205 w 606"/>
                  <a:gd name="T95" fmla="*/ 321 h 464"/>
                  <a:gd name="T96" fmla="*/ 195 w 606"/>
                  <a:gd name="T97" fmla="*/ 356 h 464"/>
                  <a:gd name="T98" fmla="*/ 210 w 606"/>
                  <a:gd name="T99" fmla="*/ 398 h 464"/>
                  <a:gd name="T100" fmla="*/ 244 w 606"/>
                  <a:gd name="T101" fmla="*/ 445 h 464"/>
                  <a:gd name="T102" fmla="*/ 300 w 606"/>
                  <a:gd name="T103" fmla="*/ 447 h 464"/>
                  <a:gd name="T104" fmla="*/ 320 w 606"/>
                  <a:gd name="T105" fmla="*/ 398 h 464"/>
                  <a:gd name="T106" fmla="*/ 345 w 606"/>
                  <a:gd name="T107" fmla="*/ 363 h 464"/>
                  <a:gd name="T108" fmla="*/ 393 w 606"/>
                  <a:gd name="T109" fmla="*/ 347 h 464"/>
                  <a:gd name="T110" fmla="*/ 460 w 606"/>
                  <a:gd name="T111" fmla="*/ 320 h 464"/>
                  <a:gd name="T112" fmla="*/ 485 w 606"/>
                  <a:gd name="T113" fmla="*/ 295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06" h="464">
                    <a:moveTo>
                      <a:pt x="485" y="295"/>
                    </a:moveTo>
                    <a:cubicBezTo>
                      <a:pt x="480" y="291"/>
                      <a:pt x="474" y="292"/>
                      <a:pt x="468" y="290"/>
                    </a:cubicBezTo>
                    <a:cubicBezTo>
                      <a:pt x="473" y="282"/>
                      <a:pt x="477" y="271"/>
                      <a:pt x="487" y="284"/>
                    </a:cubicBezTo>
                    <a:cubicBezTo>
                      <a:pt x="493" y="291"/>
                      <a:pt x="499" y="291"/>
                      <a:pt x="506" y="290"/>
                    </a:cubicBezTo>
                    <a:cubicBezTo>
                      <a:pt x="511" y="289"/>
                      <a:pt x="510" y="284"/>
                      <a:pt x="510" y="281"/>
                    </a:cubicBezTo>
                    <a:cubicBezTo>
                      <a:pt x="511" y="273"/>
                      <a:pt x="510" y="268"/>
                      <a:pt x="501" y="265"/>
                    </a:cubicBezTo>
                    <a:cubicBezTo>
                      <a:pt x="495" y="264"/>
                      <a:pt x="489" y="259"/>
                      <a:pt x="487" y="251"/>
                    </a:cubicBezTo>
                    <a:cubicBezTo>
                      <a:pt x="492" y="252"/>
                      <a:pt x="495" y="254"/>
                      <a:pt x="498" y="254"/>
                    </a:cubicBezTo>
                    <a:cubicBezTo>
                      <a:pt x="502" y="254"/>
                      <a:pt x="508" y="256"/>
                      <a:pt x="508" y="249"/>
                    </a:cubicBezTo>
                    <a:cubicBezTo>
                      <a:pt x="508" y="243"/>
                      <a:pt x="504" y="241"/>
                      <a:pt x="499" y="242"/>
                    </a:cubicBezTo>
                    <a:cubicBezTo>
                      <a:pt x="494" y="242"/>
                      <a:pt x="489" y="242"/>
                      <a:pt x="484" y="243"/>
                    </a:cubicBezTo>
                    <a:cubicBezTo>
                      <a:pt x="481" y="243"/>
                      <a:pt x="479" y="243"/>
                      <a:pt x="478" y="241"/>
                    </a:cubicBezTo>
                    <a:cubicBezTo>
                      <a:pt x="476" y="237"/>
                      <a:pt x="480" y="237"/>
                      <a:pt x="481" y="236"/>
                    </a:cubicBezTo>
                    <a:cubicBezTo>
                      <a:pt x="485" y="230"/>
                      <a:pt x="490" y="227"/>
                      <a:pt x="495" y="232"/>
                    </a:cubicBezTo>
                    <a:cubicBezTo>
                      <a:pt x="502" y="239"/>
                      <a:pt x="510" y="235"/>
                      <a:pt x="517" y="236"/>
                    </a:cubicBezTo>
                    <a:cubicBezTo>
                      <a:pt x="519" y="236"/>
                      <a:pt x="522" y="235"/>
                      <a:pt x="522" y="232"/>
                    </a:cubicBezTo>
                    <a:cubicBezTo>
                      <a:pt x="523" y="230"/>
                      <a:pt x="523" y="226"/>
                      <a:pt x="520" y="225"/>
                    </a:cubicBezTo>
                    <a:cubicBezTo>
                      <a:pt x="517" y="223"/>
                      <a:pt x="512" y="224"/>
                      <a:pt x="512" y="219"/>
                    </a:cubicBezTo>
                    <a:cubicBezTo>
                      <a:pt x="519" y="213"/>
                      <a:pt x="530" y="223"/>
                      <a:pt x="537" y="213"/>
                    </a:cubicBezTo>
                    <a:cubicBezTo>
                      <a:pt x="529" y="209"/>
                      <a:pt x="521" y="208"/>
                      <a:pt x="517" y="200"/>
                    </a:cubicBezTo>
                    <a:cubicBezTo>
                      <a:pt x="520" y="200"/>
                      <a:pt x="522" y="200"/>
                      <a:pt x="524" y="200"/>
                    </a:cubicBezTo>
                    <a:cubicBezTo>
                      <a:pt x="531" y="200"/>
                      <a:pt x="537" y="197"/>
                      <a:pt x="537" y="189"/>
                    </a:cubicBezTo>
                    <a:cubicBezTo>
                      <a:pt x="536" y="182"/>
                      <a:pt x="533" y="176"/>
                      <a:pt x="523" y="177"/>
                    </a:cubicBezTo>
                    <a:cubicBezTo>
                      <a:pt x="515" y="178"/>
                      <a:pt x="510" y="172"/>
                      <a:pt x="503" y="166"/>
                    </a:cubicBezTo>
                    <a:cubicBezTo>
                      <a:pt x="516" y="163"/>
                      <a:pt x="527" y="164"/>
                      <a:pt x="538" y="164"/>
                    </a:cubicBezTo>
                    <a:cubicBezTo>
                      <a:pt x="541" y="164"/>
                      <a:pt x="547" y="166"/>
                      <a:pt x="546" y="159"/>
                    </a:cubicBezTo>
                    <a:cubicBezTo>
                      <a:pt x="545" y="154"/>
                      <a:pt x="541" y="152"/>
                      <a:pt x="537" y="153"/>
                    </a:cubicBezTo>
                    <a:cubicBezTo>
                      <a:pt x="531" y="155"/>
                      <a:pt x="527" y="154"/>
                      <a:pt x="523" y="150"/>
                    </a:cubicBezTo>
                    <a:cubicBezTo>
                      <a:pt x="524" y="144"/>
                      <a:pt x="531" y="148"/>
                      <a:pt x="533" y="144"/>
                    </a:cubicBezTo>
                    <a:cubicBezTo>
                      <a:pt x="525" y="138"/>
                      <a:pt x="518" y="139"/>
                      <a:pt x="512" y="145"/>
                    </a:cubicBezTo>
                    <a:cubicBezTo>
                      <a:pt x="506" y="122"/>
                      <a:pt x="533" y="121"/>
                      <a:pt x="537" y="104"/>
                    </a:cubicBezTo>
                    <a:cubicBezTo>
                      <a:pt x="551" y="105"/>
                      <a:pt x="548" y="85"/>
                      <a:pt x="561" y="86"/>
                    </a:cubicBezTo>
                    <a:cubicBezTo>
                      <a:pt x="558" y="73"/>
                      <a:pt x="569" y="77"/>
                      <a:pt x="575" y="74"/>
                    </a:cubicBezTo>
                    <a:cubicBezTo>
                      <a:pt x="585" y="68"/>
                      <a:pt x="598" y="70"/>
                      <a:pt x="606" y="59"/>
                    </a:cubicBezTo>
                    <a:cubicBezTo>
                      <a:pt x="599" y="56"/>
                      <a:pt x="592" y="51"/>
                      <a:pt x="585" y="51"/>
                    </a:cubicBezTo>
                    <a:cubicBezTo>
                      <a:pt x="575" y="50"/>
                      <a:pt x="563" y="45"/>
                      <a:pt x="555" y="55"/>
                    </a:cubicBezTo>
                    <a:cubicBezTo>
                      <a:pt x="548" y="65"/>
                      <a:pt x="540" y="63"/>
                      <a:pt x="531" y="59"/>
                    </a:cubicBezTo>
                    <a:cubicBezTo>
                      <a:pt x="525" y="55"/>
                      <a:pt x="522" y="57"/>
                      <a:pt x="516" y="61"/>
                    </a:cubicBezTo>
                    <a:cubicBezTo>
                      <a:pt x="509" y="67"/>
                      <a:pt x="499" y="72"/>
                      <a:pt x="491" y="77"/>
                    </a:cubicBezTo>
                    <a:cubicBezTo>
                      <a:pt x="494" y="71"/>
                      <a:pt x="499" y="67"/>
                      <a:pt x="502" y="62"/>
                    </a:cubicBezTo>
                    <a:cubicBezTo>
                      <a:pt x="504" y="58"/>
                      <a:pt x="511" y="53"/>
                      <a:pt x="505" y="48"/>
                    </a:cubicBezTo>
                    <a:cubicBezTo>
                      <a:pt x="500" y="44"/>
                      <a:pt x="495" y="45"/>
                      <a:pt x="489" y="50"/>
                    </a:cubicBezTo>
                    <a:cubicBezTo>
                      <a:pt x="480" y="57"/>
                      <a:pt x="470" y="62"/>
                      <a:pt x="458" y="62"/>
                    </a:cubicBezTo>
                    <a:cubicBezTo>
                      <a:pt x="459" y="53"/>
                      <a:pt x="469" y="59"/>
                      <a:pt x="469" y="51"/>
                    </a:cubicBezTo>
                    <a:cubicBezTo>
                      <a:pt x="446" y="48"/>
                      <a:pt x="424" y="50"/>
                      <a:pt x="401" y="56"/>
                    </a:cubicBezTo>
                    <a:cubicBezTo>
                      <a:pt x="404" y="52"/>
                      <a:pt x="407" y="51"/>
                      <a:pt x="410" y="50"/>
                    </a:cubicBezTo>
                    <a:cubicBezTo>
                      <a:pt x="439" y="39"/>
                      <a:pt x="470" y="49"/>
                      <a:pt x="499" y="38"/>
                    </a:cubicBezTo>
                    <a:cubicBezTo>
                      <a:pt x="503" y="37"/>
                      <a:pt x="509" y="37"/>
                      <a:pt x="509" y="32"/>
                    </a:cubicBezTo>
                    <a:cubicBezTo>
                      <a:pt x="509" y="27"/>
                      <a:pt x="504" y="26"/>
                      <a:pt x="500" y="26"/>
                    </a:cubicBezTo>
                    <a:cubicBezTo>
                      <a:pt x="488" y="28"/>
                      <a:pt x="479" y="24"/>
                      <a:pt x="471" y="16"/>
                    </a:cubicBezTo>
                    <a:cubicBezTo>
                      <a:pt x="467" y="13"/>
                      <a:pt x="462" y="14"/>
                      <a:pt x="457" y="14"/>
                    </a:cubicBezTo>
                    <a:cubicBezTo>
                      <a:pt x="451" y="13"/>
                      <a:pt x="446" y="13"/>
                      <a:pt x="441" y="12"/>
                    </a:cubicBezTo>
                    <a:cubicBezTo>
                      <a:pt x="408" y="7"/>
                      <a:pt x="375" y="0"/>
                      <a:pt x="344" y="19"/>
                    </a:cubicBezTo>
                    <a:cubicBezTo>
                      <a:pt x="341" y="20"/>
                      <a:pt x="339" y="19"/>
                      <a:pt x="337" y="19"/>
                    </a:cubicBezTo>
                    <a:cubicBezTo>
                      <a:pt x="312" y="13"/>
                      <a:pt x="289" y="21"/>
                      <a:pt x="265" y="21"/>
                    </a:cubicBezTo>
                    <a:cubicBezTo>
                      <a:pt x="264" y="27"/>
                      <a:pt x="271" y="26"/>
                      <a:pt x="270" y="30"/>
                    </a:cubicBezTo>
                    <a:cubicBezTo>
                      <a:pt x="266" y="35"/>
                      <a:pt x="259" y="29"/>
                      <a:pt x="255" y="35"/>
                    </a:cubicBezTo>
                    <a:cubicBezTo>
                      <a:pt x="257" y="39"/>
                      <a:pt x="264" y="39"/>
                      <a:pt x="263" y="46"/>
                    </a:cubicBezTo>
                    <a:cubicBezTo>
                      <a:pt x="253" y="46"/>
                      <a:pt x="245" y="41"/>
                      <a:pt x="236" y="37"/>
                    </a:cubicBezTo>
                    <a:cubicBezTo>
                      <a:pt x="231" y="34"/>
                      <a:pt x="224" y="32"/>
                      <a:pt x="220" y="36"/>
                    </a:cubicBezTo>
                    <a:cubicBezTo>
                      <a:pt x="215" y="43"/>
                      <a:pt x="227" y="42"/>
                      <a:pt x="228" y="48"/>
                    </a:cubicBezTo>
                    <a:cubicBezTo>
                      <a:pt x="219" y="54"/>
                      <a:pt x="213" y="48"/>
                      <a:pt x="207" y="44"/>
                    </a:cubicBezTo>
                    <a:cubicBezTo>
                      <a:pt x="200" y="38"/>
                      <a:pt x="195" y="34"/>
                      <a:pt x="198" y="48"/>
                    </a:cubicBezTo>
                    <a:cubicBezTo>
                      <a:pt x="198" y="53"/>
                      <a:pt x="196" y="56"/>
                      <a:pt x="192" y="56"/>
                    </a:cubicBezTo>
                    <a:cubicBezTo>
                      <a:pt x="188" y="56"/>
                      <a:pt x="189" y="51"/>
                      <a:pt x="189" y="49"/>
                    </a:cubicBezTo>
                    <a:cubicBezTo>
                      <a:pt x="189" y="45"/>
                      <a:pt x="186" y="39"/>
                      <a:pt x="184" y="39"/>
                    </a:cubicBezTo>
                    <a:cubicBezTo>
                      <a:pt x="170" y="40"/>
                      <a:pt x="151" y="39"/>
                      <a:pt x="143" y="47"/>
                    </a:cubicBezTo>
                    <a:cubicBezTo>
                      <a:pt x="137" y="53"/>
                      <a:pt x="134" y="49"/>
                      <a:pt x="131" y="50"/>
                    </a:cubicBezTo>
                    <a:cubicBezTo>
                      <a:pt x="125" y="52"/>
                      <a:pt x="113" y="43"/>
                      <a:pt x="115" y="57"/>
                    </a:cubicBezTo>
                    <a:cubicBezTo>
                      <a:pt x="116" y="68"/>
                      <a:pt x="111" y="69"/>
                      <a:pt x="103" y="68"/>
                    </a:cubicBezTo>
                    <a:cubicBezTo>
                      <a:pt x="82" y="66"/>
                      <a:pt x="67" y="77"/>
                      <a:pt x="52" y="90"/>
                    </a:cubicBezTo>
                    <a:cubicBezTo>
                      <a:pt x="58" y="92"/>
                      <a:pt x="64" y="92"/>
                      <a:pt x="70" y="92"/>
                    </a:cubicBezTo>
                    <a:cubicBezTo>
                      <a:pt x="76" y="93"/>
                      <a:pt x="79" y="97"/>
                      <a:pt x="76" y="102"/>
                    </a:cubicBezTo>
                    <a:cubicBezTo>
                      <a:pt x="71" y="109"/>
                      <a:pt x="65" y="117"/>
                      <a:pt x="55" y="116"/>
                    </a:cubicBezTo>
                    <a:cubicBezTo>
                      <a:pt x="37" y="115"/>
                      <a:pt x="21" y="126"/>
                      <a:pt x="4" y="128"/>
                    </a:cubicBezTo>
                    <a:cubicBezTo>
                      <a:pt x="1" y="129"/>
                      <a:pt x="0" y="131"/>
                      <a:pt x="0" y="134"/>
                    </a:cubicBezTo>
                    <a:cubicBezTo>
                      <a:pt x="0" y="136"/>
                      <a:pt x="0" y="140"/>
                      <a:pt x="3" y="140"/>
                    </a:cubicBezTo>
                    <a:cubicBezTo>
                      <a:pt x="16" y="139"/>
                      <a:pt x="25" y="152"/>
                      <a:pt x="38" y="150"/>
                    </a:cubicBezTo>
                    <a:cubicBezTo>
                      <a:pt x="33" y="161"/>
                      <a:pt x="23" y="156"/>
                      <a:pt x="16" y="159"/>
                    </a:cubicBezTo>
                    <a:cubicBezTo>
                      <a:pt x="18" y="168"/>
                      <a:pt x="31" y="160"/>
                      <a:pt x="31" y="167"/>
                    </a:cubicBezTo>
                    <a:cubicBezTo>
                      <a:pt x="30" y="174"/>
                      <a:pt x="34" y="174"/>
                      <a:pt x="37" y="177"/>
                    </a:cubicBezTo>
                    <a:cubicBezTo>
                      <a:pt x="50" y="190"/>
                      <a:pt x="63" y="178"/>
                      <a:pt x="74" y="177"/>
                    </a:cubicBezTo>
                    <a:cubicBezTo>
                      <a:pt x="97" y="174"/>
                      <a:pt x="117" y="178"/>
                      <a:pt x="135" y="189"/>
                    </a:cubicBezTo>
                    <a:cubicBezTo>
                      <a:pt x="144" y="194"/>
                      <a:pt x="155" y="203"/>
                      <a:pt x="159" y="212"/>
                    </a:cubicBezTo>
                    <a:cubicBezTo>
                      <a:pt x="164" y="226"/>
                      <a:pt x="183" y="238"/>
                      <a:pt x="171" y="258"/>
                    </a:cubicBezTo>
                    <a:cubicBezTo>
                      <a:pt x="170" y="260"/>
                      <a:pt x="171" y="265"/>
                      <a:pt x="172" y="267"/>
                    </a:cubicBezTo>
                    <a:cubicBezTo>
                      <a:pt x="175" y="271"/>
                      <a:pt x="180" y="270"/>
                      <a:pt x="183" y="267"/>
                    </a:cubicBezTo>
                    <a:cubicBezTo>
                      <a:pt x="188" y="264"/>
                      <a:pt x="193" y="262"/>
                      <a:pt x="194" y="269"/>
                    </a:cubicBezTo>
                    <a:cubicBezTo>
                      <a:pt x="195" y="277"/>
                      <a:pt x="199" y="278"/>
                      <a:pt x="205" y="278"/>
                    </a:cubicBezTo>
                    <a:cubicBezTo>
                      <a:pt x="210" y="278"/>
                      <a:pt x="211" y="282"/>
                      <a:pt x="212" y="286"/>
                    </a:cubicBezTo>
                    <a:cubicBezTo>
                      <a:pt x="202" y="287"/>
                      <a:pt x="191" y="277"/>
                      <a:pt x="184" y="292"/>
                    </a:cubicBezTo>
                    <a:cubicBezTo>
                      <a:pt x="183" y="296"/>
                      <a:pt x="174" y="298"/>
                      <a:pt x="179" y="304"/>
                    </a:cubicBezTo>
                    <a:cubicBezTo>
                      <a:pt x="184" y="310"/>
                      <a:pt x="192" y="313"/>
                      <a:pt x="200" y="310"/>
                    </a:cubicBezTo>
                    <a:cubicBezTo>
                      <a:pt x="209" y="306"/>
                      <a:pt x="200" y="301"/>
                      <a:pt x="199" y="297"/>
                    </a:cubicBezTo>
                    <a:cubicBezTo>
                      <a:pt x="213" y="296"/>
                      <a:pt x="217" y="298"/>
                      <a:pt x="217" y="306"/>
                    </a:cubicBezTo>
                    <a:cubicBezTo>
                      <a:pt x="218" y="314"/>
                      <a:pt x="216" y="320"/>
                      <a:pt x="205" y="321"/>
                    </a:cubicBezTo>
                    <a:cubicBezTo>
                      <a:pt x="192" y="322"/>
                      <a:pt x="188" y="340"/>
                      <a:pt x="196" y="351"/>
                    </a:cubicBezTo>
                    <a:cubicBezTo>
                      <a:pt x="199" y="354"/>
                      <a:pt x="197" y="355"/>
                      <a:pt x="195" y="356"/>
                    </a:cubicBezTo>
                    <a:cubicBezTo>
                      <a:pt x="191" y="358"/>
                      <a:pt x="191" y="364"/>
                      <a:pt x="192" y="365"/>
                    </a:cubicBezTo>
                    <a:cubicBezTo>
                      <a:pt x="206" y="371"/>
                      <a:pt x="202" y="388"/>
                      <a:pt x="210" y="398"/>
                    </a:cubicBezTo>
                    <a:cubicBezTo>
                      <a:pt x="216" y="406"/>
                      <a:pt x="224" y="414"/>
                      <a:pt x="227" y="426"/>
                    </a:cubicBezTo>
                    <a:cubicBezTo>
                      <a:pt x="228" y="434"/>
                      <a:pt x="237" y="443"/>
                      <a:pt x="244" y="445"/>
                    </a:cubicBezTo>
                    <a:cubicBezTo>
                      <a:pt x="256" y="448"/>
                      <a:pt x="267" y="454"/>
                      <a:pt x="278" y="458"/>
                    </a:cubicBezTo>
                    <a:cubicBezTo>
                      <a:pt x="292" y="464"/>
                      <a:pt x="296" y="461"/>
                      <a:pt x="300" y="447"/>
                    </a:cubicBezTo>
                    <a:cubicBezTo>
                      <a:pt x="304" y="434"/>
                      <a:pt x="299" y="418"/>
                      <a:pt x="315" y="409"/>
                    </a:cubicBezTo>
                    <a:cubicBezTo>
                      <a:pt x="318" y="407"/>
                      <a:pt x="318" y="402"/>
                      <a:pt x="320" y="398"/>
                    </a:cubicBezTo>
                    <a:cubicBezTo>
                      <a:pt x="321" y="390"/>
                      <a:pt x="320" y="381"/>
                      <a:pt x="328" y="376"/>
                    </a:cubicBezTo>
                    <a:cubicBezTo>
                      <a:pt x="334" y="371"/>
                      <a:pt x="344" y="374"/>
                      <a:pt x="345" y="363"/>
                    </a:cubicBezTo>
                    <a:cubicBezTo>
                      <a:pt x="346" y="363"/>
                      <a:pt x="348" y="362"/>
                      <a:pt x="349" y="363"/>
                    </a:cubicBezTo>
                    <a:cubicBezTo>
                      <a:pt x="371" y="369"/>
                      <a:pt x="381" y="365"/>
                      <a:pt x="393" y="347"/>
                    </a:cubicBezTo>
                    <a:cubicBezTo>
                      <a:pt x="398" y="340"/>
                      <a:pt x="403" y="331"/>
                      <a:pt x="409" y="330"/>
                    </a:cubicBezTo>
                    <a:cubicBezTo>
                      <a:pt x="426" y="327"/>
                      <a:pt x="444" y="326"/>
                      <a:pt x="460" y="320"/>
                    </a:cubicBezTo>
                    <a:cubicBezTo>
                      <a:pt x="475" y="314"/>
                      <a:pt x="490" y="308"/>
                      <a:pt x="506" y="297"/>
                    </a:cubicBezTo>
                    <a:cubicBezTo>
                      <a:pt x="497" y="296"/>
                      <a:pt x="489" y="298"/>
                      <a:pt x="485" y="29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55F89BF1-DCC6-B341-EB19-DAD75A479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84558" y="4317044"/>
                <a:ext cx="968899" cy="735770"/>
              </a:xfrm>
              <a:custGeom>
                <a:avLst/>
                <a:gdLst>
                  <a:gd name="T0" fmla="*/ 359 w 406"/>
                  <a:gd name="T1" fmla="*/ 107 h 308"/>
                  <a:gd name="T2" fmla="*/ 342 w 406"/>
                  <a:gd name="T3" fmla="*/ 91 h 308"/>
                  <a:gd name="T4" fmla="*/ 333 w 406"/>
                  <a:gd name="T5" fmla="*/ 83 h 308"/>
                  <a:gd name="T6" fmla="*/ 321 w 406"/>
                  <a:gd name="T7" fmla="*/ 46 h 308"/>
                  <a:gd name="T8" fmla="*/ 316 w 406"/>
                  <a:gd name="T9" fmla="*/ 39 h 308"/>
                  <a:gd name="T10" fmla="*/ 303 w 406"/>
                  <a:gd name="T11" fmla="*/ 21 h 308"/>
                  <a:gd name="T12" fmla="*/ 294 w 406"/>
                  <a:gd name="T13" fmla="*/ 0 h 308"/>
                  <a:gd name="T14" fmla="*/ 285 w 406"/>
                  <a:gd name="T15" fmla="*/ 42 h 308"/>
                  <a:gd name="T16" fmla="*/ 278 w 406"/>
                  <a:gd name="T17" fmla="*/ 65 h 308"/>
                  <a:gd name="T18" fmla="*/ 263 w 406"/>
                  <a:gd name="T19" fmla="*/ 68 h 308"/>
                  <a:gd name="T20" fmla="*/ 251 w 406"/>
                  <a:gd name="T21" fmla="*/ 61 h 308"/>
                  <a:gd name="T22" fmla="*/ 236 w 406"/>
                  <a:gd name="T23" fmla="*/ 18 h 308"/>
                  <a:gd name="T24" fmla="*/ 236 w 406"/>
                  <a:gd name="T25" fmla="*/ 15 h 308"/>
                  <a:gd name="T26" fmla="*/ 210 w 406"/>
                  <a:gd name="T27" fmla="*/ 13 h 308"/>
                  <a:gd name="T28" fmla="*/ 166 w 406"/>
                  <a:gd name="T29" fmla="*/ 33 h 308"/>
                  <a:gd name="T30" fmla="*/ 146 w 406"/>
                  <a:gd name="T31" fmla="*/ 37 h 308"/>
                  <a:gd name="T32" fmla="*/ 132 w 406"/>
                  <a:gd name="T33" fmla="*/ 33 h 308"/>
                  <a:gd name="T34" fmla="*/ 112 w 406"/>
                  <a:gd name="T35" fmla="*/ 51 h 308"/>
                  <a:gd name="T36" fmla="*/ 94 w 406"/>
                  <a:gd name="T37" fmla="*/ 62 h 308"/>
                  <a:gd name="T38" fmla="*/ 90 w 406"/>
                  <a:gd name="T39" fmla="*/ 79 h 308"/>
                  <a:gd name="T40" fmla="*/ 36 w 406"/>
                  <a:gd name="T41" fmla="*/ 104 h 308"/>
                  <a:gd name="T42" fmla="*/ 5 w 406"/>
                  <a:gd name="T43" fmla="*/ 132 h 308"/>
                  <a:gd name="T44" fmla="*/ 7 w 406"/>
                  <a:gd name="T45" fmla="*/ 158 h 308"/>
                  <a:gd name="T46" fmla="*/ 10 w 406"/>
                  <a:gd name="T47" fmla="*/ 182 h 308"/>
                  <a:gd name="T48" fmla="*/ 19 w 406"/>
                  <a:gd name="T49" fmla="*/ 245 h 308"/>
                  <a:gd name="T50" fmla="*/ 22 w 406"/>
                  <a:gd name="T51" fmla="*/ 251 h 308"/>
                  <a:gd name="T52" fmla="*/ 51 w 406"/>
                  <a:gd name="T53" fmla="*/ 257 h 308"/>
                  <a:gd name="T54" fmla="*/ 75 w 406"/>
                  <a:gd name="T55" fmla="*/ 247 h 308"/>
                  <a:gd name="T56" fmla="*/ 118 w 406"/>
                  <a:gd name="T57" fmla="*/ 234 h 308"/>
                  <a:gd name="T58" fmla="*/ 164 w 406"/>
                  <a:gd name="T59" fmla="*/ 222 h 308"/>
                  <a:gd name="T60" fmla="*/ 205 w 406"/>
                  <a:gd name="T61" fmla="*/ 228 h 308"/>
                  <a:gd name="T62" fmla="*/ 211 w 406"/>
                  <a:gd name="T63" fmla="*/ 233 h 308"/>
                  <a:gd name="T64" fmla="*/ 244 w 406"/>
                  <a:gd name="T65" fmla="*/ 243 h 308"/>
                  <a:gd name="T66" fmla="*/ 241 w 406"/>
                  <a:gd name="T67" fmla="*/ 259 h 308"/>
                  <a:gd name="T68" fmla="*/ 252 w 406"/>
                  <a:gd name="T69" fmla="*/ 263 h 308"/>
                  <a:gd name="T70" fmla="*/ 258 w 406"/>
                  <a:gd name="T71" fmla="*/ 266 h 308"/>
                  <a:gd name="T72" fmla="*/ 267 w 406"/>
                  <a:gd name="T73" fmla="*/ 277 h 308"/>
                  <a:gd name="T74" fmla="*/ 308 w 406"/>
                  <a:gd name="T75" fmla="*/ 301 h 308"/>
                  <a:gd name="T76" fmla="*/ 329 w 406"/>
                  <a:gd name="T77" fmla="*/ 303 h 308"/>
                  <a:gd name="T78" fmla="*/ 334 w 406"/>
                  <a:gd name="T79" fmla="*/ 303 h 308"/>
                  <a:gd name="T80" fmla="*/ 367 w 406"/>
                  <a:gd name="T81" fmla="*/ 289 h 308"/>
                  <a:gd name="T82" fmla="*/ 369 w 406"/>
                  <a:gd name="T83" fmla="*/ 283 h 308"/>
                  <a:gd name="T84" fmla="*/ 387 w 406"/>
                  <a:gd name="T85" fmla="*/ 238 h 308"/>
                  <a:gd name="T86" fmla="*/ 405 w 406"/>
                  <a:gd name="T87" fmla="*/ 186 h 308"/>
                  <a:gd name="T88" fmla="*/ 388 w 406"/>
                  <a:gd name="T89" fmla="*/ 142 h 308"/>
                  <a:gd name="T90" fmla="*/ 359 w 406"/>
                  <a:gd name="T91" fmla="*/ 107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06" h="308">
                    <a:moveTo>
                      <a:pt x="359" y="107"/>
                    </a:moveTo>
                    <a:cubicBezTo>
                      <a:pt x="355" y="100"/>
                      <a:pt x="350" y="94"/>
                      <a:pt x="342" y="91"/>
                    </a:cubicBezTo>
                    <a:cubicBezTo>
                      <a:pt x="338" y="90"/>
                      <a:pt x="334" y="89"/>
                      <a:pt x="333" y="83"/>
                    </a:cubicBezTo>
                    <a:cubicBezTo>
                      <a:pt x="330" y="71"/>
                      <a:pt x="325" y="58"/>
                      <a:pt x="321" y="46"/>
                    </a:cubicBezTo>
                    <a:cubicBezTo>
                      <a:pt x="320" y="42"/>
                      <a:pt x="319" y="39"/>
                      <a:pt x="316" y="39"/>
                    </a:cubicBezTo>
                    <a:cubicBezTo>
                      <a:pt x="301" y="40"/>
                      <a:pt x="303" y="30"/>
                      <a:pt x="303" y="21"/>
                    </a:cubicBezTo>
                    <a:cubicBezTo>
                      <a:pt x="303" y="13"/>
                      <a:pt x="297" y="8"/>
                      <a:pt x="294" y="0"/>
                    </a:cubicBezTo>
                    <a:cubicBezTo>
                      <a:pt x="284" y="14"/>
                      <a:pt x="284" y="28"/>
                      <a:pt x="285" y="42"/>
                    </a:cubicBezTo>
                    <a:cubicBezTo>
                      <a:pt x="286" y="51"/>
                      <a:pt x="283" y="58"/>
                      <a:pt x="278" y="65"/>
                    </a:cubicBezTo>
                    <a:cubicBezTo>
                      <a:pt x="274" y="72"/>
                      <a:pt x="268" y="73"/>
                      <a:pt x="263" y="68"/>
                    </a:cubicBezTo>
                    <a:cubicBezTo>
                      <a:pt x="260" y="64"/>
                      <a:pt x="255" y="63"/>
                      <a:pt x="251" y="61"/>
                    </a:cubicBezTo>
                    <a:cubicBezTo>
                      <a:pt x="226" y="51"/>
                      <a:pt x="223" y="42"/>
                      <a:pt x="236" y="18"/>
                    </a:cubicBezTo>
                    <a:cubicBezTo>
                      <a:pt x="237" y="18"/>
                      <a:pt x="236" y="16"/>
                      <a:pt x="236" y="15"/>
                    </a:cubicBezTo>
                    <a:cubicBezTo>
                      <a:pt x="228" y="13"/>
                      <a:pt x="219" y="16"/>
                      <a:pt x="210" y="13"/>
                    </a:cubicBezTo>
                    <a:cubicBezTo>
                      <a:pt x="192" y="6"/>
                      <a:pt x="172" y="16"/>
                      <a:pt x="166" y="33"/>
                    </a:cubicBezTo>
                    <a:cubicBezTo>
                      <a:pt x="161" y="46"/>
                      <a:pt x="155" y="48"/>
                      <a:pt x="146" y="37"/>
                    </a:cubicBezTo>
                    <a:cubicBezTo>
                      <a:pt x="141" y="32"/>
                      <a:pt x="137" y="29"/>
                      <a:pt x="132" y="33"/>
                    </a:cubicBezTo>
                    <a:cubicBezTo>
                      <a:pt x="126" y="39"/>
                      <a:pt x="118" y="44"/>
                      <a:pt x="112" y="51"/>
                    </a:cubicBezTo>
                    <a:cubicBezTo>
                      <a:pt x="108" y="55"/>
                      <a:pt x="110" y="76"/>
                      <a:pt x="94" y="62"/>
                    </a:cubicBezTo>
                    <a:cubicBezTo>
                      <a:pt x="91" y="68"/>
                      <a:pt x="95" y="74"/>
                      <a:pt x="90" y="79"/>
                    </a:cubicBezTo>
                    <a:cubicBezTo>
                      <a:pt x="75" y="94"/>
                      <a:pt x="56" y="99"/>
                      <a:pt x="36" y="104"/>
                    </a:cubicBezTo>
                    <a:cubicBezTo>
                      <a:pt x="22" y="107"/>
                      <a:pt x="11" y="118"/>
                      <a:pt x="5" y="132"/>
                    </a:cubicBezTo>
                    <a:cubicBezTo>
                      <a:pt x="0" y="143"/>
                      <a:pt x="11" y="151"/>
                      <a:pt x="7" y="158"/>
                    </a:cubicBezTo>
                    <a:cubicBezTo>
                      <a:pt x="1" y="168"/>
                      <a:pt x="8" y="174"/>
                      <a:pt x="10" y="182"/>
                    </a:cubicBezTo>
                    <a:cubicBezTo>
                      <a:pt x="16" y="202"/>
                      <a:pt x="36" y="221"/>
                      <a:pt x="19" y="245"/>
                    </a:cubicBezTo>
                    <a:cubicBezTo>
                      <a:pt x="17" y="247"/>
                      <a:pt x="20" y="250"/>
                      <a:pt x="22" y="251"/>
                    </a:cubicBezTo>
                    <a:cubicBezTo>
                      <a:pt x="30" y="260"/>
                      <a:pt x="40" y="263"/>
                      <a:pt x="51" y="257"/>
                    </a:cubicBezTo>
                    <a:cubicBezTo>
                      <a:pt x="59" y="253"/>
                      <a:pt x="67" y="245"/>
                      <a:pt x="75" y="247"/>
                    </a:cubicBezTo>
                    <a:cubicBezTo>
                      <a:pt x="92" y="250"/>
                      <a:pt x="105" y="243"/>
                      <a:pt x="118" y="234"/>
                    </a:cubicBezTo>
                    <a:cubicBezTo>
                      <a:pt x="132" y="225"/>
                      <a:pt x="149" y="229"/>
                      <a:pt x="164" y="222"/>
                    </a:cubicBezTo>
                    <a:cubicBezTo>
                      <a:pt x="178" y="215"/>
                      <a:pt x="192" y="224"/>
                      <a:pt x="205" y="228"/>
                    </a:cubicBezTo>
                    <a:cubicBezTo>
                      <a:pt x="207" y="229"/>
                      <a:pt x="209" y="230"/>
                      <a:pt x="211" y="233"/>
                    </a:cubicBezTo>
                    <a:cubicBezTo>
                      <a:pt x="223" y="257"/>
                      <a:pt x="223" y="257"/>
                      <a:pt x="244" y="243"/>
                    </a:cubicBezTo>
                    <a:cubicBezTo>
                      <a:pt x="246" y="249"/>
                      <a:pt x="242" y="254"/>
                      <a:pt x="241" y="259"/>
                    </a:cubicBezTo>
                    <a:cubicBezTo>
                      <a:pt x="245" y="262"/>
                      <a:pt x="256" y="243"/>
                      <a:pt x="252" y="263"/>
                    </a:cubicBezTo>
                    <a:cubicBezTo>
                      <a:pt x="252" y="267"/>
                      <a:pt x="256" y="265"/>
                      <a:pt x="258" y="266"/>
                    </a:cubicBezTo>
                    <a:cubicBezTo>
                      <a:pt x="263" y="268"/>
                      <a:pt x="266" y="272"/>
                      <a:pt x="267" y="277"/>
                    </a:cubicBezTo>
                    <a:cubicBezTo>
                      <a:pt x="269" y="290"/>
                      <a:pt x="297" y="308"/>
                      <a:pt x="308" y="301"/>
                    </a:cubicBezTo>
                    <a:cubicBezTo>
                      <a:pt x="317" y="295"/>
                      <a:pt x="322" y="297"/>
                      <a:pt x="329" y="303"/>
                    </a:cubicBezTo>
                    <a:cubicBezTo>
                      <a:pt x="331" y="305"/>
                      <a:pt x="332" y="304"/>
                      <a:pt x="334" y="303"/>
                    </a:cubicBezTo>
                    <a:cubicBezTo>
                      <a:pt x="345" y="298"/>
                      <a:pt x="354" y="288"/>
                      <a:pt x="367" y="289"/>
                    </a:cubicBezTo>
                    <a:cubicBezTo>
                      <a:pt x="368" y="289"/>
                      <a:pt x="369" y="285"/>
                      <a:pt x="369" y="283"/>
                    </a:cubicBezTo>
                    <a:cubicBezTo>
                      <a:pt x="371" y="266"/>
                      <a:pt x="378" y="251"/>
                      <a:pt x="387" y="238"/>
                    </a:cubicBezTo>
                    <a:cubicBezTo>
                      <a:pt x="399" y="222"/>
                      <a:pt x="403" y="205"/>
                      <a:pt x="405" y="186"/>
                    </a:cubicBezTo>
                    <a:cubicBezTo>
                      <a:pt x="406" y="170"/>
                      <a:pt x="400" y="152"/>
                      <a:pt x="388" y="142"/>
                    </a:cubicBezTo>
                    <a:cubicBezTo>
                      <a:pt x="377" y="131"/>
                      <a:pt x="367" y="120"/>
                      <a:pt x="359" y="10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5732AAA8-BA8F-A400-CA33-F8506CFA5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9711" y="1349709"/>
                <a:ext cx="700733" cy="398880"/>
              </a:xfrm>
              <a:custGeom>
                <a:avLst/>
                <a:gdLst>
                  <a:gd name="T0" fmla="*/ 69 w 294"/>
                  <a:gd name="T1" fmla="*/ 108 h 167"/>
                  <a:gd name="T2" fmla="*/ 41 w 294"/>
                  <a:gd name="T3" fmla="*/ 107 h 167"/>
                  <a:gd name="T4" fmla="*/ 32 w 294"/>
                  <a:gd name="T5" fmla="*/ 118 h 167"/>
                  <a:gd name="T6" fmla="*/ 44 w 294"/>
                  <a:gd name="T7" fmla="*/ 121 h 167"/>
                  <a:gd name="T8" fmla="*/ 54 w 294"/>
                  <a:gd name="T9" fmla="*/ 119 h 167"/>
                  <a:gd name="T10" fmla="*/ 55 w 294"/>
                  <a:gd name="T11" fmla="*/ 130 h 167"/>
                  <a:gd name="T12" fmla="*/ 59 w 294"/>
                  <a:gd name="T13" fmla="*/ 139 h 167"/>
                  <a:gd name="T14" fmla="*/ 50 w 294"/>
                  <a:gd name="T15" fmla="*/ 134 h 167"/>
                  <a:gd name="T16" fmla="*/ 43 w 294"/>
                  <a:gd name="T17" fmla="*/ 129 h 167"/>
                  <a:gd name="T18" fmla="*/ 27 w 294"/>
                  <a:gd name="T19" fmla="*/ 130 h 167"/>
                  <a:gd name="T20" fmla="*/ 33 w 294"/>
                  <a:gd name="T21" fmla="*/ 142 h 167"/>
                  <a:gd name="T22" fmla="*/ 9 w 294"/>
                  <a:gd name="T23" fmla="*/ 153 h 167"/>
                  <a:gd name="T24" fmla="*/ 42 w 294"/>
                  <a:gd name="T25" fmla="*/ 156 h 167"/>
                  <a:gd name="T26" fmla="*/ 63 w 294"/>
                  <a:gd name="T27" fmla="*/ 156 h 167"/>
                  <a:gd name="T28" fmla="*/ 87 w 294"/>
                  <a:gd name="T29" fmla="*/ 155 h 167"/>
                  <a:gd name="T30" fmla="*/ 125 w 294"/>
                  <a:gd name="T31" fmla="*/ 154 h 167"/>
                  <a:gd name="T32" fmla="*/ 127 w 294"/>
                  <a:gd name="T33" fmla="*/ 149 h 167"/>
                  <a:gd name="T34" fmla="*/ 122 w 294"/>
                  <a:gd name="T35" fmla="*/ 146 h 167"/>
                  <a:gd name="T36" fmla="*/ 85 w 294"/>
                  <a:gd name="T37" fmla="*/ 142 h 167"/>
                  <a:gd name="T38" fmla="*/ 103 w 294"/>
                  <a:gd name="T39" fmla="*/ 136 h 167"/>
                  <a:gd name="T40" fmla="*/ 149 w 294"/>
                  <a:gd name="T41" fmla="*/ 119 h 167"/>
                  <a:gd name="T42" fmla="*/ 158 w 294"/>
                  <a:gd name="T43" fmla="*/ 110 h 167"/>
                  <a:gd name="T44" fmla="*/ 152 w 294"/>
                  <a:gd name="T45" fmla="*/ 100 h 167"/>
                  <a:gd name="T46" fmla="*/ 133 w 294"/>
                  <a:gd name="T47" fmla="*/ 96 h 167"/>
                  <a:gd name="T48" fmla="*/ 262 w 294"/>
                  <a:gd name="T49" fmla="*/ 47 h 167"/>
                  <a:gd name="T50" fmla="*/ 234 w 294"/>
                  <a:gd name="T51" fmla="*/ 41 h 167"/>
                  <a:gd name="T52" fmla="*/ 294 w 294"/>
                  <a:gd name="T53" fmla="*/ 22 h 167"/>
                  <a:gd name="T54" fmla="*/ 273 w 294"/>
                  <a:gd name="T55" fmla="*/ 15 h 167"/>
                  <a:gd name="T56" fmla="*/ 261 w 294"/>
                  <a:gd name="T57" fmla="*/ 10 h 167"/>
                  <a:gd name="T58" fmla="*/ 229 w 294"/>
                  <a:gd name="T59" fmla="*/ 6 h 167"/>
                  <a:gd name="T60" fmla="*/ 201 w 294"/>
                  <a:gd name="T61" fmla="*/ 4 h 167"/>
                  <a:gd name="T62" fmla="*/ 169 w 294"/>
                  <a:gd name="T63" fmla="*/ 10 h 167"/>
                  <a:gd name="T64" fmla="*/ 131 w 294"/>
                  <a:gd name="T65" fmla="*/ 10 h 167"/>
                  <a:gd name="T66" fmla="*/ 124 w 294"/>
                  <a:gd name="T67" fmla="*/ 10 h 167"/>
                  <a:gd name="T68" fmla="*/ 98 w 294"/>
                  <a:gd name="T69" fmla="*/ 13 h 167"/>
                  <a:gd name="T70" fmla="*/ 63 w 294"/>
                  <a:gd name="T71" fmla="*/ 21 h 167"/>
                  <a:gd name="T72" fmla="*/ 42 w 294"/>
                  <a:gd name="T73" fmla="*/ 29 h 167"/>
                  <a:gd name="T74" fmla="*/ 31 w 294"/>
                  <a:gd name="T75" fmla="*/ 30 h 167"/>
                  <a:gd name="T76" fmla="*/ 6 w 294"/>
                  <a:gd name="T77" fmla="*/ 36 h 167"/>
                  <a:gd name="T78" fmla="*/ 6 w 294"/>
                  <a:gd name="T79" fmla="*/ 49 h 167"/>
                  <a:gd name="T80" fmla="*/ 27 w 294"/>
                  <a:gd name="T81" fmla="*/ 63 h 167"/>
                  <a:gd name="T82" fmla="*/ 51 w 294"/>
                  <a:gd name="T83" fmla="*/ 70 h 167"/>
                  <a:gd name="T84" fmla="*/ 46 w 294"/>
                  <a:gd name="T85" fmla="*/ 88 h 167"/>
                  <a:gd name="T86" fmla="*/ 69 w 294"/>
                  <a:gd name="T87" fmla="*/ 108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94" h="167">
                    <a:moveTo>
                      <a:pt x="69" y="108"/>
                    </a:moveTo>
                    <a:cubicBezTo>
                      <a:pt x="59" y="105"/>
                      <a:pt x="50" y="105"/>
                      <a:pt x="41" y="107"/>
                    </a:cubicBezTo>
                    <a:cubicBezTo>
                      <a:pt x="37" y="108"/>
                      <a:pt x="29" y="111"/>
                      <a:pt x="32" y="118"/>
                    </a:cubicBezTo>
                    <a:cubicBezTo>
                      <a:pt x="34" y="125"/>
                      <a:pt x="40" y="122"/>
                      <a:pt x="44" y="121"/>
                    </a:cubicBezTo>
                    <a:cubicBezTo>
                      <a:pt x="48" y="120"/>
                      <a:pt x="50" y="117"/>
                      <a:pt x="54" y="119"/>
                    </a:cubicBezTo>
                    <a:cubicBezTo>
                      <a:pt x="53" y="123"/>
                      <a:pt x="49" y="127"/>
                      <a:pt x="55" y="130"/>
                    </a:cubicBezTo>
                    <a:cubicBezTo>
                      <a:pt x="59" y="132"/>
                      <a:pt x="64" y="135"/>
                      <a:pt x="59" y="139"/>
                    </a:cubicBezTo>
                    <a:cubicBezTo>
                      <a:pt x="53" y="145"/>
                      <a:pt x="52" y="137"/>
                      <a:pt x="50" y="134"/>
                    </a:cubicBezTo>
                    <a:cubicBezTo>
                      <a:pt x="48" y="132"/>
                      <a:pt x="46" y="130"/>
                      <a:pt x="43" y="129"/>
                    </a:cubicBezTo>
                    <a:cubicBezTo>
                      <a:pt x="38" y="126"/>
                      <a:pt x="31" y="124"/>
                      <a:pt x="27" y="130"/>
                    </a:cubicBezTo>
                    <a:cubicBezTo>
                      <a:pt x="20" y="138"/>
                      <a:pt x="37" y="133"/>
                      <a:pt x="33" y="142"/>
                    </a:cubicBezTo>
                    <a:cubicBezTo>
                      <a:pt x="25" y="142"/>
                      <a:pt x="16" y="143"/>
                      <a:pt x="9" y="153"/>
                    </a:cubicBezTo>
                    <a:cubicBezTo>
                      <a:pt x="21" y="154"/>
                      <a:pt x="32" y="152"/>
                      <a:pt x="42" y="156"/>
                    </a:cubicBezTo>
                    <a:cubicBezTo>
                      <a:pt x="50" y="159"/>
                      <a:pt x="54" y="162"/>
                      <a:pt x="63" y="156"/>
                    </a:cubicBezTo>
                    <a:cubicBezTo>
                      <a:pt x="69" y="151"/>
                      <a:pt x="81" y="151"/>
                      <a:pt x="87" y="155"/>
                    </a:cubicBezTo>
                    <a:cubicBezTo>
                      <a:pt x="101" y="167"/>
                      <a:pt x="112" y="155"/>
                      <a:pt x="125" y="154"/>
                    </a:cubicBezTo>
                    <a:cubicBezTo>
                      <a:pt x="127" y="154"/>
                      <a:pt x="128" y="152"/>
                      <a:pt x="127" y="149"/>
                    </a:cubicBezTo>
                    <a:cubicBezTo>
                      <a:pt x="126" y="147"/>
                      <a:pt x="125" y="146"/>
                      <a:pt x="122" y="146"/>
                    </a:cubicBezTo>
                    <a:cubicBezTo>
                      <a:pt x="110" y="146"/>
                      <a:pt x="99" y="140"/>
                      <a:pt x="85" y="142"/>
                    </a:cubicBezTo>
                    <a:cubicBezTo>
                      <a:pt x="91" y="133"/>
                      <a:pt x="98" y="136"/>
                      <a:pt x="103" y="136"/>
                    </a:cubicBezTo>
                    <a:cubicBezTo>
                      <a:pt x="121" y="138"/>
                      <a:pt x="132" y="121"/>
                      <a:pt x="149" y="119"/>
                    </a:cubicBezTo>
                    <a:cubicBezTo>
                      <a:pt x="154" y="119"/>
                      <a:pt x="156" y="114"/>
                      <a:pt x="158" y="110"/>
                    </a:cubicBezTo>
                    <a:cubicBezTo>
                      <a:pt x="162" y="103"/>
                      <a:pt x="160" y="100"/>
                      <a:pt x="152" y="100"/>
                    </a:cubicBezTo>
                    <a:cubicBezTo>
                      <a:pt x="146" y="100"/>
                      <a:pt x="139" y="102"/>
                      <a:pt x="133" y="96"/>
                    </a:cubicBezTo>
                    <a:cubicBezTo>
                      <a:pt x="182" y="95"/>
                      <a:pt x="216" y="59"/>
                      <a:pt x="262" y="47"/>
                    </a:cubicBezTo>
                    <a:cubicBezTo>
                      <a:pt x="251" y="39"/>
                      <a:pt x="242" y="47"/>
                      <a:pt x="234" y="41"/>
                    </a:cubicBezTo>
                    <a:cubicBezTo>
                      <a:pt x="256" y="41"/>
                      <a:pt x="277" y="38"/>
                      <a:pt x="294" y="22"/>
                    </a:cubicBezTo>
                    <a:cubicBezTo>
                      <a:pt x="285" y="26"/>
                      <a:pt x="278" y="20"/>
                      <a:pt x="273" y="15"/>
                    </a:cubicBezTo>
                    <a:cubicBezTo>
                      <a:pt x="269" y="11"/>
                      <a:pt x="265" y="11"/>
                      <a:pt x="261" y="10"/>
                    </a:cubicBezTo>
                    <a:cubicBezTo>
                      <a:pt x="250" y="9"/>
                      <a:pt x="240" y="13"/>
                      <a:pt x="229" y="6"/>
                    </a:cubicBezTo>
                    <a:cubicBezTo>
                      <a:pt x="222" y="1"/>
                      <a:pt x="210" y="4"/>
                      <a:pt x="201" y="4"/>
                    </a:cubicBezTo>
                    <a:cubicBezTo>
                      <a:pt x="190" y="5"/>
                      <a:pt x="178" y="1"/>
                      <a:pt x="169" y="10"/>
                    </a:cubicBezTo>
                    <a:cubicBezTo>
                      <a:pt x="156" y="0"/>
                      <a:pt x="144" y="8"/>
                      <a:pt x="131" y="10"/>
                    </a:cubicBezTo>
                    <a:cubicBezTo>
                      <a:pt x="129" y="10"/>
                      <a:pt x="126" y="11"/>
                      <a:pt x="124" y="10"/>
                    </a:cubicBezTo>
                    <a:cubicBezTo>
                      <a:pt x="114" y="4"/>
                      <a:pt x="106" y="10"/>
                      <a:pt x="98" y="13"/>
                    </a:cubicBezTo>
                    <a:cubicBezTo>
                      <a:pt x="86" y="17"/>
                      <a:pt x="75" y="26"/>
                      <a:pt x="63" y="21"/>
                    </a:cubicBezTo>
                    <a:cubicBezTo>
                      <a:pt x="53" y="17"/>
                      <a:pt x="47" y="22"/>
                      <a:pt x="42" y="29"/>
                    </a:cubicBezTo>
                    <a:cubicBezTo>
                      <a:pt x="38" y="33"/>
                      <a:pt x="37" y="34"/>
                      <a:pt x="31" y="30"/>
                    </a:cubicBezTo>
                    <a:cubicBezTo>
                      <a:pt x="21" y="22"/>
                      <a:pt x="15" y="35"/>
                      <a:pt x="6" y="36"/>
                    </a:cubicBezTo>
                    <a:cubicBezTo>
                      <a:pt x="0" y="38"/>
                      <a:pt x="5" y="45"/>
                      <a:pt x="6" y="49"/>
                    </a:cubicBezTo>
                    <a:cubicBezTo>
                      <a:pt x="8" y="60"/>
                      <a:pt x="18" y="63"/>
                      <a:pt x="27" y="63"/>
                    </a:cubicBezTo>
                    <a:cubicBezTo>
                      <a:pt x="42" y="63"/>
                      <a:pt x="42" y="62"/>
                      <a:pt x="51" y="70"/>
                    </a:cubicBezTo>
                    <a:cubicBezTo>
                      <a:pt x="35" y="76"/>
                      <a:pt x="34" y="78"/>
                      <a:pt x="46" y="88"/>
                    </a:cubicBezTo>
                    <a:cubicBezTo>
                      <a:pt x="59" y="88"/>
                      <a:pt x="61" y="101"/>
                      <a:pt x="69" y="10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8">
                <a:extLst>
                  <a:ext uri="{FF2B5EF4-FFF2-40B4-BE49-F238E27FC236}">
                    <a16:creationId xmlns:a16="http://schemas.microsoft.com/office/drawing/2014/main" id="{71BB195B-966E-5A62-6880-BDE92975E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54" y="2065266"/>
                <a:ext cx="0" cy="2695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A8ABE129-C6AE-6D11-5107-B8CF7A045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7126" y="4059660"/>
                <a:ext cx="452782" cy="254690"/>
              </a:xfrm>
              <a:custGeom>
                <a:avLst/>
                <a:gdLst>
                  <a:gd name="T0" fmla="*/ 162 w 190"/>
                  <a:gd name="T1" fmla="*/ 61 h 107"/>
                  <a:gd name="T2" fmla="*/ 102 w 190"/>
                  <a:gd name="T3" fmla="*/ 28 h 107"/>
                  <a:gd name="T4" fmla="*/ 46 w 190"/>
                  <a:gd name="T5" fmla="*/ 30 h 107"/>
                  <a:gd name="T6" fmla="*/ 32 w 190"/>
                  <a:gd name="T7" fmla="*/ 22 h 107"/>
                  <a:gd name="T8" fmla="*/ 0 w 190"/>
                  <a:gd name="T9" fmla="*/ 12 h 107"/>
                  <a:gd name="T10" fmla="*/ 14 w 190"/>
                  <a:gd name="T11" fmla="*/ 33 h 107"/>
                  <a:gd name="T12" fmla="*/ 20 w 190"/>
                  <a:gd name="T13" fmla="*/ 39 h 107"/>
                  <a:gd name="T14" fmla="*/ 63 w 190"/>
                  <a:gd name="T15" fmla="*/ 51 h 107"/>
                  <a:gd name="T16" fmla="*/ 69 w 190"/>
                  <a:gd name="T17" fmla="*/ 76 h 107"/>
                  <a:gd name="T18" fmla="*/ 68 w 190"/>
                  <a:gd name="T19" fmla="*/ 83 h 107"/>
                  <a:gd name="T20" fmla="*/ 74 w 190"/>
                  <a:gd name="T21" fmla="*/ 84 h 107"/>
                  <a:gd name="T22" fmla="*/ 99 w 190"/>
                  <a:gd name="T23" fmla="*/ 89 h 107"/>
                  <a:gd name="T24" fmla="*/ 121 w 190"/>
                  <a:gd name="T25" fmla="*/ 88 h 107"/>
                  <a:gd name="T26" fmla="*/ 151 w 190"/>
                  <a:gd name="T27" fmla="*/ 89 h 107"/>
                  <a:gd name="T28" fmla="*/ 190 w 190"/>
                  <a:gd name="T29" fmla="*/ 107 h 107"/>
                  <a:gd name="T30" fmla="*/ 180 w 190"/>
                  <a:gd name="T31" fmla="*/ 93 h 107"/>
                  <a:gd name="T32" fmla="*/ 166 w 190"/>
                  <a:gd name="T33" fmla="*/ 66 h 107"/>
                  <a:gd name="T34" fmla="*/ 162 w 190"/>
                  <a:gd name="T35" fmla="*/ 6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0" h="107">
                    <a:moveTo>
                      <a:pt x="162" y="61"/>
                    </a:moveTo>
                    <a:cubicBezTo>
                      <a:pt x="142" y="49"/>
                      <a:pt x="125" y="34"/>
                      <a:pt x="102" y="28"/>
                    </a:cubicBezTo>
                    <a:cubicBezTo>
                      <a:pt x="83" y="22"/>
                      <a:pt x="65" y="8"/>
                      <a:pt x="46" y="30"/>
                    </a:cubicBezTo>
                    <a:cubicBezTo>
                      <a:pt x="40" y="37"/>
                      <a:pt x="34" y="30"/>
                      <a:pt x="32" y="22"/>
                    </a:cubicBezTo>
                    <a:cubicBezTo>
                      <a:pt x="28" y="3"/>
                      <a:pt x="17" y="0"/>
                      <a:pt x="0" y="12"/>
                    </a:cubicBezTo>
                    <a:cubicBezTo>
                      <a:pt x="4" y="19"/>
                      <a:pt x="17" y="20"/>
                      <a:pt x="14" y="33"/>
                    </a:cubicBezTo>
                    <a:cubicBezTo>
                      <a:pt x="13" y="35"/>
                      <a:pt x="15" y="40"/>
                      <a:pt x="20" y="39"/>
                    </a:cubicBezTo>
                    <a:cubicBezTo>
                      <a:pt x="36" y="37"/>
                      <a:pt x="49" y="47"/>
                      <a:pt x="63" y="51"/>
                    </a:cubicBezTo>
                    <a:cubicBezTo>
                      <a:pt x="76" y="55"/>
                      <a:pt x="78" y="67"/>
                      <a:pt x="69" y="76"/>
                    </a:cubicBezTo>
                    <a:cubicBezTo>
                      <a:pt x="68" y="78"/>
                      <a:pt x="66" y="80"/>
                      <a:pt x="68" y="83"/>
                    </a:cubicBezTo>
                    <a:cubicBezTo>
                      <a:pt x="69" y="86"/>
                      <a:pt x="72" y="84"/>
                      <a:pt x="74" y="84"/>
                    </a:cubicBezTo>
                    <a:cubicBezTo>
                      <a:pt x="83" y="82"/>
                      <a:pt x="91" y="82"/>
                      <a:pt x="99" y="89"/>
                    </a:cubicBezTo>
                    <a:cubicBezTo>
                      <a:pt x="104" y="95"/>
                      <a:pt x="114" y="95"/>
                      <a:pt x="121" y="88"/>
                    </a:cubicBezTo>
                    <a:cubicBezTo>
                      <a:pt x="133" y="77"/>
                      <a:pt x="142" y="75"/>
                      <a:pt x="151" y="89"/>
                    </a:cubicBezTo>
                    <a:cubicBezTo>
                      <a:pt x="161" y="103"/>
                      <a:pt x="175" y="105"/>
                      <a:pt x="190" y="107"/>
                    </a:cubicBezTo>
                    <a:cubicBezTo>
                      <a:pt x="190" y="99"/>
                      <a:pt x="184" y="97"/>
                      <a:pt x="180" y="93"/>
                    </a:cubicBezTo>
                    <a:cubicBezTo>
                      <a:pt x="172" y="85"/>
                      <a:pt x="159" y="81"/>
                      <a:pt x="166" y="66"/>
                    </a:cubicBezTo>
                    <a:cubicBezTo>
                      <a:pt x="168" y="63"/>
                      <a:pt x="164" y="62"/>
                      <a:pt x="162" y="6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0">
                <a:extLst>
                  <a:ext uri="{FF2B5EF4-FFF2-40B4-BE49-F238E27FC236}">
                    <a16:creationId xmlns:a16="http://schemas.microsoft.com/office/drawing/2014/main" id="{3770F854-A0F7-02BC-1F8B-C7AAF3D4C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0795" y="3892562"/>
                <a:ext cx="245256" cy="262775"/>
              </a:xfrm>
              <a:custGeom>
                <a:avLst/>
                <a:gdLst>
                  <a:gd name="T0" fmla="*/ 2 w 103"/>
                  <a:gd name="T1" fmla="*/ 56 h 110"/>
                  <a:gd name="T2" fmla="*/ 25 w 103"/>
                  <a:gd name="T3" fmla="*/ 102 h 110"/>
                  <a:gd name="T4" fmla="*/ 60 w 103"/>
                  <a:gd name="T5" fmla="*/ 107 h 110"/>
                  <a:gd name="T6" fmla="*/ 77 w 103"/>
                  <a:gd name="T7" fmla="*/ 96 h 110"/>
                  <a:gd name="T8" fmla="*/ 97 w 103"/>
                  <a:gd name="T9" fmla="*/ 62 h 110"/>
                  <a:gd name="T10" fmla="*/ 97 w 103"/>
                  <a:gd name="T11" fmla="*/ 52 h 110"/>
                  <a:gd name="T12" fmla="*/ 90 w 103"/>
                  <a:gd name="T13" fmla="*/ 29 h 110"/>
                  <a:gd name="T14" fmla="*/ 103 w 103"/>
                  <a:gd name="T15" fmla="*/ 17 h 110"/>
                  <a:gd name="T16" fmla="*/ 88 w 103"/>
                  <a:gd name="T17" fmla="*/ 7 h 110"/>
                  <a:gd name="T18" fmla="*/ 84 w 103"/>
                  <a:gd name="T19" fmla="*/ 3 h 110"/>
                  <a:gd name="T20" fmla="*/ 79 w 103"/>
                  <a:gd name="T21" fmla="*/ 2 h 110"/>
                  <a:gd name="T22" fmla="*/ 48 w 103"/>
                  <a:gd name="T23" fmla="*/ 29 h 110"/>
                  <a:gd name="T24" fmla="*/ 47 w 103"/>
                  <a:gd name="T25" fmla="*/ 30 h 110"/>
                  <a:gd name="T26" fmla="*/ 31 w 103"/>
                  <a:gd name="T27" fmla="*/ 42 h 110"/>
                  <a:gd name="T28" fmla="*/ 25 w 103"/>
                  <a:gd name="T29" fmla="*/ 47 h 110"/>
                  <a:gd name="T30" fmla="*/ 13 w 103"/>
                  <a:gd name="T31" fmla="*/ 51 h 110"/>
                  <a:gd name="T32" fmla="*/ 2 w 103"/>
                  <a:gd name="T33" fmla="*/ 56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3" h="110">
                    <a:moveTo>
                      <a:pt x="2" y="56"/>
                    </a:moveTo>
                    <a:cubicBezTo>
                      <a:pt x="0" y="65"/>
                      <a:pt x="17" y="100"/>
                      <a:pt x="25" y="102"/>
                    </a:cubicBezTo>
                    <a:cubicBezTo>
                      <a:pt x="38" y="105"/>
                      <a:pt x="52" y="101"/>
                      <a:pt x="60" y="107"/>
                    </a:cubicBezTo>
                    <a:cubicBezTo>
                      <a:pt x="74" y="110"/>
                      <a:pt x="75" y="103"/>
                      <a:pt x="77" y="96"/>
                    </a:cubicBezTo>
                    <a:cubicBezTo>
                      <a:pt x="82" y="84"/>
                      <a:pt x="84" y="70"/>
                      <a:pt x="97" y="62"/>
                    </a:cubicBezTo>
                    <a:cubicBezTo>
                      <a:pt x="103" y="59"/>
                      <a:pt x="101" y="56"/>
                      <a:pt x="97" y="52"/>
                    </a:cubicBezTo>
                    <a:cubicBezTo>
                      <a:pt x="90" y="46"/>
                      <a:pt x="87" y="38"/>
                      <a:pt x="90" y="29"/>
                    </a:cubicBezTo>
                    <a:cubicBezTo>
                      <a:pt x="93" y="23"/>
                      <a:pt x="103" y="24"/>
                      <a:pt x="103" y="17"/>
                    </a:cubicBezTo>
                    <a:cubicBezTo>
                      <a:pt x="103" y="7"/>
                      <a:pt x="89" y="17"/>
                      <a:pt x="88" y="7"/>
                    </a:cubicBezTo>
                    <a:cubicBezTo>
                      <a:pt x="88" y="5"/>
                      <a:pt x="86" y="4"/>
                      <a:pt x="84" y="3"/>
                    </a:cubicBezTo>
                    <a:cubicBezTo>
                      <a:pt x="83" y="1"/>
                      <a:pt x="80" y="0"/>
                      <a:pt x="79" y="2"/>
                    </a:cubicBezTo>
                    <a:cubicBezTo>
                      <a:pt x="72" y="15"/>
                      <a:pt x="62" y="24"/>
                      <a:pt x="48" y="29"/>
                    </a:cubicBezTo>
                    <a:cubicBezTo>
                      <a:pt x="48" y="29"/>
                      <a:pt x="47" y="30"/>
                      <a:pt x="47" y="30"/>
                    </a:cubicBezTo>
                    <a:cubicBezTo>
                      <a:pt x="45" y="38"/>
                      <a:pt x="40" y="43"/>
                      <a:pt x="31" y="42"/>
                    </a:cubicBezTo>
                    <a:cubicBezTo>
                      <a:pt x="28" y="42"/>
                      <a:pt x="26" y="43"/>
                      <a:pt x="25" y="47"/>
                    </a:cubicBezTo>
                    <a:cubicBezTo>
                      <a:pt x="24" y="55"/>
                      <a:pt x="20" y="56"/>
                      <a:pt x="13" y="51"/>
                    </a:cubicBezTo>
                    <a:cubicBezTo>
                      <a:pt x="7" y="48"/>
                      <a:pt x="4" y="51"/>
                      <a:pt x="2" y="5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1">
                <a:extLst>
                  <a:ext uri="{FF2B5EF4-FFF2-40B4-BE49-F238E27FC236}">
                    <a16:creationId xmlns:a16="http://schemas.microsoft.com/office/drawing/2014/main" id="{D7632600-A7DB-B5B3-17F9-CE0D43507C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5139" y="4343995"/>
                <a:ext cx="198092" cy="334196"/>
              </a:xfrm>
              <a:custGeom>
                <a:avLst/>
                <a:gdLst>
                  <a:gd name="T0" fmla="*/ 58 w 83"/>
                  <a:gd name="T1" fmla="*/ 8 h 140"/>
                  <a:gd name="T2" fmla="*/ 16 w 83"/>
                  <a:gd name="T3" fmla="*/ 39 h 140"/>
                  <a:gd name="T4" fmla="*/ 11 w 83"/>
                  <a:gd name="T5" fmla="*/ 47 h 140"/>
                  <a:gd name="T6" fmla="*/ 13 w 83"/>
                  <a:gd name="T7" fmla="*/ 76 h 140"/>
                  <a:gd name="T8" fmla="*/ 10 w 83"/>
                  <a:gd name="T9" fmla="*/ 88 h 140"/>
                  <a:gd name="T10" fmla="*/ 7 w 83"/>
                  <a:gd name="T11" fmla="*/ 127 h 140"/>
                  <a:gd name="T12" fmla="*/ 24 w 83"/>
                  <a:gd name="T13" fmla="*/ 140 h 140"/>
                  <a:gd name="T14" fmla="*/ 42 w 83"/>
                  <a:gd name="T15" fmla="*/ 128 h 140"/>
                  <a:gd name="T16" fmla="*/ 59 w 83"/>
                  <a:gd name="T17" fmla="*/ 74 h 140"/>
                  <a:gd name="T18" fmla="*/ 67 w 83"/>
                  <a:gd name="T19" fmla="*/ 41 h 140"/>
                  <a:gd name="T20" fmla="*/ 68 w 83"/>
                  <a:gd name="T21" fmla="*/ 9 h 140"/>
                  <a:gd name="T22" fmla="*/ 58 w 83"/>
                  <a:gd name="T23" fmla="*/ 8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" h="140">
                    <a:moveTo>
                      <a:pt x="58" y="8"/>
                    </a:moveTo>
                    <a:cubicBezTo>
                      <a:pt x="48" y="23"/>
                      <a:pt x="39" y="40"/>
                      <a:pt x="16" y="39"/>
                    </a:cubicBezTo>
                    <a:cubicBezTo>
                      <a:pt x="13" y="39"/>
                      <a:pt x="12" y="43"/>
                      <a:pt x="11" y="47"/>
                    </a:cubicBezTo>
                    <a:cubicBezTo>
                      <a:pt x="9" y="58"/>
                      <a:pt x="6" y="68"/>
                      <a:pt x="13" y="76"/>
                    </a:cubicBezTo>
                    <a:cubicBezTo>
                      <a:pt x="12" y="82"/>
                      <a:pt x="12" y="86"/>
                      <a:pt x="10" y="88"/>
                    </a:cubicBezTo>
                    <a:cubicBezTo>
                      <a:pt x="0" y="100"/>
                      <a:pt x="4" y="113"/>
                      <a:pt x="7" y="127"/>
                    </a:cubicBezTo>
                    <a:cubicBezTo>
                      <a:pt x="10" y="136"/>
                      <a:pt x="15" y="140"/>
                      <a:pt x="24" y="140"/>
                    </a:cubicBezTo>
                    <a:cubicBezTo>
                      <a:pt x="32" y="139"/>
                      <a:pt x="39" y="138"/>
                      <a:pt x="42" y="128"/>
                    </a:cubicBezTo>
                    <a:cubicBezTo>
                      <a:pt x="47" y="110"/>
                      <a:pt x="53" y="91"/>
                      <a:pt x="59" y="74"/>
                    </a:cubicBezTo>
                    <a:cubicBezTo>
                      <a:pt x="63" y="63"/>
                      <a:pt x="61" y="46"/>
                      <a:pt x="67" y="41"/>
                    </a:cubicBezTo>
                    <a:cubicBezTo>
                      <a:pt x="83" y="29"/>
                      <a:pt x="68" y="19"/>
                      <a:pt x="68" y="9"/>
                    </a:cubicBezTo>
                    <a:cubicBezTo>
                      <a:pt x="68" y="2"/>
                      <a:pt x="63" y="0"/>
                      <a:pt x="58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id="{FE34C2D3-D253-1378-9AD4-1E1439140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2097" y="1693337"/>
                <a:ext cx="429874" cy="304549"/>
              </a:xfrm>
              <a:custGeom>
                <a:avLst/>
                <a:gdLst>
                  <a:gd name="T0" fmla="*/ 25 w 180"/>
                  <a:gd name="T1" fmla="*/ 123 h 128"/>
                  <a:gd name="T2" fmla="*/ 29 w 180"/>
                  <a:gd name="T3" fmla="*/ 124 h 128"/>
                  <a:gd name="T4" fmla="*/ 49 w 180"/>
                  <a:gd name="T5" fmla="*/ 127 h 128"/>
                  <a:gd name="T6" fmla="*/ 57 w 180"/>
                  <a:gd name="T7" fmla="*/ 125 h 128"/>
                  <a:gd name="T8" fmla="*/ 53 w 180"/>
                  <a:gd name="T9" fmla="*/ 117 h 128"/>
                  <a:gd name="T10" fmla="*/ 48 w 180"/>
                  <a:gd name="T11" fmla="*/ 85 h 128"/>
                  <a:gd name="T12" fmla="*/ 79 w 180"/>
                  <a:gd name="T13" fmla="*/ 52 h 128"/>
                  <a:gd name="T14" fmla="*/ 160 w 180"/>
                  <a:gd name="T15" fmla="*/ 20 h 128"/>
                  <a:gd name="T16" fmla="*/ 175 w 180"/>
                  <a:gd name="T17" fmla="*/ 8 h 128"/>
                  <a:gd name="T18" fmla="*/ 153 w 180"/>
                  <a:gd name="T19" fmla="*/ 6 h 128"/>
                  <a:gd name="T20" fmla="*/ 112 w 180"/>
                  <a:gd name="T21" fmla="*/ 16 h 128"/>
                  <a:gd name="T22" fmla="*/ 76 w 180"/>
                  <a:gd name="T23" fmla="*/ 26 h 128"/>
                  <a:gd name="T24" fmla="*/ 51 w 180"/>
                  <a:gd name="T25" fmla="*/ 40 h 128"/>
                  <a:gd name="T26" fmla="*/ 19 w 180"/>
                  <a:gd name="T27" fmla="*/ 81 h 128"/>
                  <a:gd name="T28" fmla="*/ 14 w 180"/>
                  <a:gd name="T29" fmla="*/ 85 h 128"/>
                  <a:gd name="T30" fmla="*/ 0 w 180"/>
                  <a:gd name="T31" fmla="*/ 102 h 128"/>
                  <a:gd name="T32" fmla="*/ 25 w 180"/>
                  <a:gd name="T33" fmla="*/ 12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0" h="128">
                    <a:moveTo>
                      <a:pt x="25" y="123"/>
                    </a:moveTo>
                    <a:cubicBezTo>
                      <a:pt x="25" y="124"/>
                      <a:pt x="27" y="124"/>
                      <a:pt x="29" y="124"/>
                    </a:cubicBezTo>
                    <a:cubicBezTo>
                      <a:pt x="36" y="124"/>
                      <a:pt x="43" y="123"/>
                      <a:pt x="49" y="127"/>
                    </a:cubicBezTo>
                    <a:cubicBezTo>
                      <a:pt x="52" y="128"/>
                      <a:pt x="56" y="128"/>
                      <a:pt x="57" y="125"/>
                    </a:cubicBezTo>
                    <a:cubicBezTo>
                      <a:pt x="60" y="121"/>
                      <a:pt x="56" y="120"/>
                      <a:pt x="53" y="117"/>
                    </a:cubicBezTo>
                    <a:cubicBezTo>
                      <a:pt x="42" y="108"/>
                      <a:pt x="37" y="98"/>
                      <a:pt x="48" y="85"/>
                    </a:cubicBezTo>
                    <a:cubicBezTo>
                      <a:pt x="58" y="74"/>
                      <a:pt x="66" y="60"/>
                      <a:pt x="79" y="52"/>
                    </a:cubicBezTo>
                    <a:cubicBezTo>
                      <a:pt x="105" y="37"/>
                      <a:pt x="131" y="27"/>
                      <a:pt x="160" y="20"/>
                    </a:cubicBezTo>
                    <a:cubicBezTo>
                      <a:pt x="164" y="19"/>
                      <a:pt x="180" y="20"/>
                      <a:pt x="175" y="8"/>
                    </a:cubicBezTo>
                    <a:cubicBezTo>
                      <a:pt x="172" y="0"/>
                      <a:pt x="161" y="3"/>
                      <a:pt x="153" y="6"/>
                    </a:cubicBezTo>
                    <a:cubicBezTo>
                      <a:pt x="140" y="12"/>
                      <a:pt x="127" y="17"/>
                      <a:pt x="112" y="16"/>
                    </a:cubicBezTo>
                    <a:cubicBezTo>
                      <a:pt x="100" y="16"/>
                      <a:pt x="88" y="21"/>
                      <a:pt x="76" y="26"/>
                    </a:cubicBezTo>
                    <a:cubicBezTo>
                      <a:pt x="67" y="30"/>
                      <a:pt x="55" y="33"/>
                      <a:pt x="51" y="40"/>
                    </a:cubicBezTo>
                    <a:cubicBezTo>
                      <a:pt x="43" y="56"/>
                      <a:pt x="31" y="68"/>
                      <a:pt x="19" y="81"/>
                    </a:cubicBezTo>
                    <a:cubicBezTo>
                      <a:pt x="17" y="82"/>
                      <a:pt x="13" y="82"/>
                      <a:pt x="14" y="85"/>
                    </a:cubicBezTo>
                    <a:cubicBezTo>
                      <a:pt x="18" y="99"/>
                      <a:pt x="6" y="98"/>
                      <a:pt x="0" y="102"/>
                    </a:cubicBezTo>
                    <a:cubicBezTo>
                      <a:pt x="4" y="115"/>
                      <a:pt x="23" y="108"/>
                      <a:pt x="25" y="12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13">
                <a:extLst>
                  <a:ext uri="{FF2B5EF4-FFF2-40B4-BE49-F238E27FC236}">
                    <a16:creationId xmlns:a16="http://schemas.microsoft.com/office/drawing/2014/main" id="{7BB2AC6F-4241-7A13-C4B8-EC1381472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91" y="2456059"/>
                <a:ext cx="207525" cy="281641"/>
              </a:xfrm>
              <a:custGeom>
                <a:avLst/>
                <a:gdLst>
                  <a:gd name="T0" fmla="*/ 29 w 87"/>
                  <a:gd name="T1" fmla="*/ 56 h 118"/>
                  <a:gd name="T2" fmla="*/ 37 w 87"/>
                  <a:gd name="T3" fmla="*/ 66 h 118"/>
                  <a:gd name="T4" fmla="*/ 33 w 87"/>
                  <a:gd name="T5" fmla="*/ 76 h 118"/>
                  <a:gd name="T6" fmla="*/ 25 w 87"/>
                  <a:gd name="T7" fmla="*/ 88 h 118"/>
                  <a:gd name="T8" fmla="*/ 17 w 87"/>
                  <a:gd name="T9" fmla="*/ 97 h 118"/>
                  <a:gd name="T10" fmla="*/ 33 w 87"/>
                  <a:gd name="T11" fmla="*/ 102 h 118"/>
                  <a:gd name="T12" fmla="*/ 19 w 87"/>
                  <a:gd name="T13" fmla="*/ 116 h 118"/>
                  <a:gd name="T14" fmla="*/ 19 w 87"/>
                  <a:gd name="T15" fmla="*/ 116 h 118"/>
                  <a:gd name="T16" fmla="*/ 53 w 87"/>
                  <a:gd name="T17" fmla="*/ 110 h 118"/>
                  <a:gd name="T18" fmla="*/ 83 w 87"/>
                  <a:gd name="T19" fmla="*/ 93 h 118"/>
                  <a:gd name="T20" fmla="*/ 78 w 87"/>
                  <a:gd name="T21" fmla="*/ 81 h 118"/>
                  <a:gd name="T22" fmla="*/ 67 w 87"/>
                  <a:gd name="T23" fmla="*/ 68 h 118"/>
                  <a:gd name="T24" fmla="*/ 63 w 87"/>
                  <a:gd name="T25" fmla="*/ 59 h 118"/>
                  <a:gd name="T26" fmla="*/ 50 w 87"/>
                  <a:gd name="T27" fmla="*/ 13 h 118"/>
                  <a:gd name="T28" fmla="*/ 30 w 87"/>
                  <a:gd name="T29" fmla="*/ 13 h 118"/>
                  <a:gd name="T30" fmla="*/ 32 w 87"/>
                  <a:gd name="T31" fmla="*/ 2 h 118"/>
                  <a:gd name="T32" fmla="*/ 19 w 87"/>
                  <a:gd name="T33" fmla="*/ 2 h 118"/>
                  <a:gd name="T34" fmla="*/ 5 w 87"/>
                  <a:gd name="T35" fmla="*/ 21 h 118"/>
                  <a:gd name="T36" fmla="*/ 29 w 87"/>
                  <a:gd name="T37" fmla="*/ 5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7" h="118">
                    <a:moveTo>
                      <a:pt x="29" y="56"/>
                    </a:moveTo>
                    <a:cubicBezTo>
                      <a:pt x="35" y="57"/>
                      <a:pt x="36" y="62"/>
                      <a:pt x="37" y="66"/>
                    </a:cubicBezTo>
                    <a:cubicBezTo>
                      <a:pt x="38" y="70"/>
                      <a:pt x="38" y="76"/>
                      <a:pt x="33" y="76"/>
                    </a:cubicBezTo>
                    <a:cubicBezTo>
                      <a:pt x="23" y="76"/>
                      <a:pt x="20" y="79"/>
                      <a:pt x="25" y="88"/>
                    </a:cubicBezTo>
                    <a:cubicBezTo>
                      <a:pt x="27" y="93"/>
                      <a:pt x="18" y="93"/>
                      <a:pt x="17" y="97"/>
                    </a:cubicBezTo>
                    <a:cubicBezTo>
                      <a:pt x="23" y="99"/>
                      <a:pt x="29" y="97"/>
                      <a:pt x="33" y="102"/>
                    </a:cubicBezTo>
                    <a:cubicBezTo>
                      <a:pt x="27" y="105"/>
                      <a:pt x="20" y="108"/>
                      <a:pt x="19" y="116"/>
                    </a:cubicBezTo>
                    <a:cubicBezTo>
                      <a:pt x="19" y="116"/>
                      <a:pt x="19" y="116"/>
                      <a:pt x="19" y="116"/>
                    </a:cubicBezTo>
                    <a:cubicBezTo>
                      <a:pt x="31" y="118"/>
                      <a:pt x="42" y="111"/>
                      <a:pt x="53" y="110"/>
                    </a:cubicBezTo>
                    <a:cubicBezTo>
                      <a:pt x="74" y="108"/>
                      <a:pt x="74" y="108"/>
                      <a:pt x="83" y="93"/>
                    </a:cubicBezTo>
                    <a:cubicBezTo>
                      <a:pt x="87" y="86"/>
                      <a:pt x="86" y="81"/>
                      <a:pt x="78" y="81"/>
                    </a:cubicBezTo>
                    <a:cubicBezTo>
                      <a:pt x="70" y="80"/>
                      <a:pt x="68" y="75"/>
                      <a:pt x="67" y="68"/>
                    </a:cubicBezTo>
                    <a:cubicBezTo>
                      <a:pt x="67" y="64"/>
                      <a:pt x="65" y="62"/>
                      <a:pt x="63" y="59"/>
                    </a:cubicBezTo>
                    <a:cubicBezTo>
                      <a:pt x="52" y="46"/>
                      <a:pt x="37" y="37"/>
                      <a:pt x="50" y="13"/>
                    </a:cubicBezTo>
                    <a:cubicBezTo>
                      <a:pt x="42" y="13"/>
                      <a:pt x="36" y="13"/>
                      <a:pt x="30" y="13"/>
                    </a:cubicBezTo>
                    <a:cubicBezTo>
                      <a:pt x="28" y="9"/>
                      <a:pt x="38" y="6"/>
                      <a:pt x="32" y="2"/>
                    </a:cubicBezTo>
                    <a:cubicBezTo>
                      <a:pt x="29" y="0"/>
                      <a:pt x="23" y="1"/>
                      <a:pt x="19" y="2"/>
                    </a:cubicBezTo>
                    <a:cubicBezTo>
                      <a:pt x="12" y="6"/>
                      <a:pt x="14" y="16"/>
                      <a:pt x="5" y="21"/>
                    </a:cubicBezTo>
                    <a:cubicBezTo>
                      <a:pt x="0" y="23"/>
                      <a:pt x="19" y="54"/>
                      <a:pt x="29" y="5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14">
                <a:extLst>
                  <a:ext uri="{FF2B5EF4-FFF2-40B4-BE49-F238E27FC236}">
                    <a16:creationId xmlns:a16="http://schemas.microsoft.com/office/drawing/2014/main" id="{66FEC91D-A02A-363B-9DF8-21C011821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7436" y="1452124"/>
                <a:ext cx="278946" cy="195397"/>
              </a:xfrm>
              <a:custGeom>
                <a:avLst/>
                <a:gdLst>
                  <a:gd name="T0" fmla="*/ 45 w 117"/>
                  <a:gd name="T1" fmla="*/ 52 h 82"/>
                  <a:gd name="T2" fmla="*/ 32 w 117"/>
                  <a:gd name="T3" fmla="*/ 59 h 82"/>
                  <a:gd name="T4" fmla="*/ 89 w 117"/>
                  <a:gd name="T5" fmla="*/ 68 h 82"/>
                  <a:gd name="T6" fmla="*/ 109 w 117"/>
                  <a:gd name="T7" fmla="*/ 57 h 82"/>
                  <a:gd name="T8" fmla="*/ 116 w 117"/>
                  <a:gd name="T9" fmla="*/ 52 h 82"/>
                  <a:gd name="T10" fmla="*/ 110 w 117"/>
                  <a:gd name="T11" fmla="*/ 45 h 82"/>
                  <a:gd name="T12" fmla="*/ 99 w 117"/>
                  <a:gd name="T13" fmla="*/ 44 h 82"/>
                  <a:gd name="T14" fmla="*/ 83 w 117"/>
                  <a:gd name="T15" fmla="*/ 29 h 82"/>
                  <a:gd name="T16" fmla="*/ 44 w 117"/>
                  <a:gd name="T17" fmla="*/ 6 h 82"/>
                  <a:gd name="T18" fmla="*/ 29 w 117"/>
                  <a:gd name="T19" fmla="*/ 8 h 82"/>
                  <a:gd name="T20" fmla="*/ 19 w 117"/>
                  <a:gd name="T21" fmla="*/ 21 h 82"/>
                  <a:gd name="T22" fmla="*/ 18 w 117"/>
                  <a:gd name="T23" fmla="*/ 32 h 82"/>
                  <a:gd name="T24" fmla="*/ 6 w 117"/>
                  <a:gd name="T25" fmla="*/ 37 h 82"/>
                  <a:gd name="T26" fmla="*/ 45 w 117"/>
                  <a:gd name="T27" fmla="*/ 5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7" h="82">
                    <a:moveTo>
                      <a:pt x="45" y="52"/>
                    </a:moveTo>
                    <a:cubicBezTo>
                      <a:pt x="43" y="60"/>
                      <a:pt x="35" y="54"/>
                      <a:pt x="32" y="59"/>
                    </a:cubicBezTo>
                    <a:cubicBezTo>
                      <a:pt x="42" y="81"/>
                      <a:pt x="74" y="82"/>
                      <a:pt x="89" y="68"/>
                    </a:cubicBezTo>
                    <a:cubicBezTo>
                      <a:pt x="94" y="63"/>
                      <a:pt x="99" y="55"/>
                      <a:pt x="109" y="57"/>
                    </a:cubicBezTo>
                    <a:cubicBezTo>
                      <a:pt x="112" y="57"/>
                      <a:pt x="115" y="55"/>
                      <a:pt x="116" y="52"/>
                    </a:cubicBezTo>
                    <a:cubicBezTo>
                      <a:pt x="117" y="47"/>
                      <a:pt x="111" y="48"/>
                      <a:pt x="110" y="45"/>
                    </a:cubicBezTo>
                    <a:cubicBezTo>
                      <a:pt x="106" y="45"/>
                      <a:pt x="99" y="45"/>
                      <a:pt x="99" y="44"/>
                    </a:cubicBezTo>
                    <a:cubicBezTo>
                      <a:pt x="97" y="34"/>
                      <a:pt x="91" y="34"/>
                      <a:pt x="83" y="29"/>
                    </a:cubicBezTo>
                    <a:cubicBezTo>
                      <a:pt x="70" y="22"/>
                      <a:pt x="55" y="17"/>
                      <a:pt x="44" y="6"/>
                    </a:cubicBezTo>
                    <a:cubicBezTo>
                      <a:pt x="39" y="1"/>
                      <a:pt x="35" y="0"/>
                      <a:pt x="29" y="8"/>
                    </a:cubicBezTo>
                    <a:cubicBezTo>
                      <a:pt x="27" y="12"/>
                      <a:pt x="27" y="20"/>
                      <a:pt x="19" y="21"/>
                    </a:cubicBezTo>
                    <a:cubicBezTo>
                      <a:pt x="0" y="23"/>
                      <a:pt x="17" y="28"/>
                      <a:pt x="18" y="32"/>
                    </a:cubicBezTo>
                    <a:cubicBezTo>
                      <a:pt x="14" y="35"/>
                      <a:pt x="8" y="32"/>
                      <a:pt x="6" y="37"/>
                    </a:cubicBezTo>
                    <a:cubicBezTo>
                      <a:pt x="13" y="56"/>
                      <a:pt x="31" y="49"/>
                      <a:pt x="45" y="5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5">
                <a:extLst>
                  <a:ext uri="{FF2B5EF4-FFF2-40B4-BE49-F238E27FC236}">
                    <a16:creationId xmlns:a16="http://schemas.microsoft.com/office/drawing/2014/main" id="{3CD8B4C2-7574-0A6D-AF42-33DC0BEF3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863" y="155992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6">
                <a:extLst>
                  <a:ext uri="{FF2B5EF4-FFF2-40B4-BE49-F238E27FC236}">
                    <a16:creationId xmlns:a16="http://schemas.microsoft.com/office/drawing/2014/main" id="{5601D97E-591E-68BD-446E-C055BDBFB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8588" y="1535672"/>
                <a:ext cx="320720" cy="180573"/>
              </a:xfrm>
              <a:custGeom>
                <a:avLst/>
                <a:gdLst>
                  <a:gd name="T0" fmla="*/ 11 w 134"/>
                  <a:gd name="T1" fmla="*/ 21 h 76"/>
                  <a:gd name="T2" fmla="*/ 9 w 134"/>
                  <a:gd name="T3" fmla="*/ 26 h 76"/>
                  <a:gd name="T4" fmla="*/ 20 w 134"/>
                  <a:gd name="T5" fmla="*/ 39 h 76"/>
                  <a:gd name="T6" fmla="*/ 32 w 134"/>
                  <a:gd name="T7" fmla="*/ 38 h 76"/>
                  <a:gd name="T8" fmla="*/ 53 w 134"/>
                  <a:gd name="T9" fmla="*/ 36 h 76"/>
                  <a:gd name="T10" fmla="*/ 43 w 134"/>
                  <a:gd name="T11" fmla="*/ 41 h 76"/>
                  <a:gd name="T12" fmla="*/ 34 w 134"/>
                  <a:gd name="T13" fmla="*/ 60 h 76"/>
                  <a:gd name="T14" fmla="*/ 52 w 134"/>
                  <a:gd name="T15" fmla="*/ 74 h 76"/>
                  <a:gd name="T16" fmla="*/ 59 w 134"/>
                  <a:gd name="T17" fmla="*/ 72 h 76"/>
                  <a:gd name="T18" fmla="*/ 78 w 134"/>
                  <a:gd name="T19" fmla="*/ 43 h 76"/>
                  <a:gd name="T20" fmla="*/ 92 w 134"/>
                  <a:gd name="T21" fmla="*/ 33 h 76"/>
                  <a:gd name="T22" fmla="*/ 103 w 134"/>
                  <a:gd name="T23" fmla="*/ 47 h 76"/>
                  <a:gd name="T24" fmla="*/ 105 w 134"/>
                  <a:gd name="T25" fmla="*/ 56 h 76"/>
                  <a:gd name="T26" fmla="*/ 134 w 134"/>
                  <a:gd name="T27" fmla="*/ 47 h 76"/>
                  <a:gd name="T28" fmla="*/ 120 w 134"/>
                  <a:gd name="T29" fmla="*/ 42 h 76"/>
                  <a:gd name="T30" fmla="*/ 79 w 134"/>
                  <a:gd name="T31" fmla="*/ 13 h 76"/>
                  <a:gd name="T32" fmla="*/ 68 w 134"/>
                  <a:gd name="T33" fmla="*/ 10 h 76"/>
                  <a:gd name="T34" fmla="*/ 52 w 134"/>
                  <a:gd name="T35" fmla="*/ 4 h 76"/>
                  <a:gd name="T36" fmla="*/ 54 w 134"/>
                  <a:gd name="T37" fmla="*/ 13 h 76"/>
                  <a:gd name="T38" fmla="*/ 53 w 134"/>
                  <a:gd name="T39" fmla="*/ 19 h 76"/>
                  <a:gd name="T40" fmla="*/ 40 w 134"/>
                  <a:gd name="T41" fmla="*/ 5 h 76"/>
                  <a:gd name="T42" fmla="*/ 36 w 134"/>
                  <a:gd name="T43" fmla="*/ 10 h 76"/>
                  <a:gd name="T44" fmla="*/ 32 w 134"/>
                  <a:gd name="T45" fmla="*/ 15 h 76"/>
                  <a:gd name="T46" fmla="*/ 27 w 134"/>
                  <a:gd name="T47" fmla="*/ 7 h 76"/>
                  <a:gd name="T48" fmla="*/ 28 w 134"/>
                  <a:gd name="T49" fmla="*/ 4 h 76"/>
                  <a:gd name="T50" fmla="*/ 6 w 134"/>
                  <a:gd name="T51" fmla="*/ 7 h 76"/>
                  <a:gd name="T52" fmla="*/ 11 w 134"/>
                  <a:gd name="T53" fmla="*/ 2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34" h="76">
                    <a:moveTo>
                      <a:pt x="11" y="21"/>
                    </a:moveTo>
                    <a:cubicBezTo>
                      <a:pt x="10" y="22"/>
                      <a:pt x="9" y="24"/>
                      <a:pt x="9" y="26"/>
                    </a:cubicBezTo>
                    <a:cubicBezTo>
                      <a:pt x="9" y="33"/>
                      <a:pt x="15" y="37"/>
                      <a:pt x="20" y="39"/>
                    </a:cubicBezTo>
                    <a:cubicBezTo>
                      <a:pt x="23" y="41"/>
                      <a:pt x="31" y="42"/>
                      <a:pt x="32" y="38"/>
                    </a:cubicBezTo>
                    <a:cubicBezTo>
                      <a:pt x="38" y="23"/>
                      <a:pt x="46" y="32"/>
                      <a:pt x="53" y="36"/>
                    </a:cubicBezTo>
                    <a:cubicBezTo>
                      <a:pt x="51" y="41"/>
                      <a:pt x="46" y="39"/>
                      <a:pt x="43" y="41"/>
                    </a:cubicBezTo>
                    <a:cubicBezTo>
                      <a:pt x="36" y="44"/>
                      <a:pt x="30" y="55"/>
                      <a:pt x="34" y="60"/>
                    </a:cubicBezTo>
                    <a:cubicBezTo>
                      <a:pt x="39" y="65"/>
                      <a:pt x="46" y="69"/>
                      <a:pt x="52" y="74"/>
                    </a:cubicBezTo>
                    <a:cubicBezTo>
                      <a:pt x="55" y="76"/>
                      <a:pt x="58" y="76"/>
                      <a:pt x="59" y="72"/>
                    </a:cubicBezTo>
                    <a:cubicBezTo>
                      <a:pt x="63" y="61"/>
                      <a:pt x="74" y="54"/>
                      <a:pt x="78" y="43"/>
                    </a:cubicBezTo>
                    <a:cubicBezTo>
                      <a:pt x="80" y="36"/>
                      <a:pt x="86" y="31"/>
                      <a:pt x="92" y="33"/>
                    </a:cubicBezTo>
                    <a:cubicBezTo>
                      <a:pt x="98" y="35"/>
                      <a:pt x="102" y="41"/>
                      <a:pt x="103" y="47"/>
                    </a:cubicBezTo>
                    <a:cubicBezTo>
                      <a:pt x="103" y="50"/>
                      <a:pt x="100" y="55"/>
                      <a:pt x="105" y="56"/>
                    </a:cubicBezTo>
                    <a:cubicBezTo>
                      <a:pt x="116" y="58"/>
                      <a:pt x="128" y="63"/>
                      <a:pt x="134" y="47"/>
                    </a:cubicBezTo>
                    <a:cubicBezTo>
                      <a:pt x="130" y="45"/>
                      <a:pt x="125" y="45"/>
                      <a:pt x="120" y="42"/>
                    </a:cubicBezTo>
                    <a:cubicBezTo>
                      <a:pt x="106" y="32"/>
                      <a:pt x="95" y="19"/>
                      <a:pt x="79" y="13"/>
                    </a:cubicBezTo>
                    <a:cubicBezTo>
                      <a:pt x="75" y="11"/>
                      <a:pt x="69" y="18"/>
                      <a:pt x="68" y="10"/>
                    </a:cubicBezTo>
                    <a:cubicBezTo>
                      <a:pt x="66" y="0"/>
                      <a:pt x="58" y="2"/>
                      <a:pt x="52" y="4"/>
                    </a:cubicBezTo>
                    <a:cubicBezTo>
                      <a:pt x="40" y="8"/>
                      <a:pt x="56" y="9"/>
                      <a:pt x="54" y="13"/>
                    </a:cubicBezTo>
                    <a:cubicBezTo>
                      <a:pt x="53" y="15"/>
                      <a:pt x="53" y="17"/>
                      <a:pt x="53" y="19"/>
                    </a:cubicBezTo>
                    <a:cubicBezTo>
                      <a:pt x="45" y="17"/>
                      <a:pt x="47" y="7"/>
                      <a:pt x="40" y="5"/>
                    </a:cubicBezTo>
                    <a:cubicBezTo>
                      <a:pt x="38" y="6"/>
                      <a:pt x="36" y="7"/>
                      <a:pt x="36" y="10"/>
                    </a:cubicBezTo>
                    <a:cubicBezTo>
                      <a:pt x="36" y="13"/>
                      <a:pt x="36" y="17"/>
                      <a:pt x="32" y="15"/>
                    </a:cubicBezTo>
                    <a:cubicBezTo>
                      <a:pt x="30" y="14"/>
                      <a:pt x="25" y="11"/>
                      <a:pt x="27" y="7"/>
                    </a:cubicBezTo>
                    <a:cubicBezTo>
                      <a:pt x="28" y="6"/>
                      <a:pt x="33" y="5"/>
                      <a:pt x="28" y="4"/>
                    </a:cubicBezTo>
                    <a:cubicBezTo>
                      <a:pt x="21" y="4"/>
                      <a:pt x="12" y="1"/>
                      <a:pt x="6" y="7"/>
                    </a:cubicBezTo>
                    <a:cubicBezTo>
                      <a:pt x="0" y="13"/>
                      <a:pt x="2" y="19"/>
                      <a:pt x="11" y="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17">
                <a:extLst>
                  <a:ext uri="{FF2B5EF4-FFF2-40B4-BE49-F238E27FC236}">
                    <a16:creationId xmlns:a16="http://schemas.microsoft.com/office/drawing/2014/main" id="{3F1405FE-7AC1-C30A-3C0E-8263AC632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0856" y="3926250"/>
                <a:ext cx="266817" cy="278945"/>
              </a:xfrm>
              <a:custGeom>
                <a:avLst/>
                <a:gdLst>
                  <a:gd name="T0" fmla="*/ 104 w 112"/>
                  <a:gd name="T1" fmla="*/ 102 h 117"/>
                  <a:gd name="T2" fmla="*/ 109 w 112"/>
                  <a:gd name="T3" fmla="*/ 85 h 117"/>
                  <a:gd name="T4" fmla="*/ 108 w 112"/>
                  <a:gd name="T5" fmla="*/ 77 h 117"/>
                  <a:gd name="T6" fmla="*/ 103 w 112"/>
                  <a:gd name="T7" fmla="*/ 77 h 117"/>
                  <a:gd name="T8" fmla="*/ 96 w 112"/>
                  <a:gd name="T9" fmla="*/ 80 h 117"/>
                  <a:gd name="T10" fmla="*/ 80 w 112"/>
                  <a:gd name="T11" fmla="*/ 63 h 117"/>
                  <a:gd name="T12" fmla="*/ 52 w 112"/>
                  <a:gd name="T13" fmla="*/ 34 h 117"/>
                  <a:gd name="T14" fmla="*/ 44 w 112"/>
                  <a:gd name="T15" fmla="*/ 28 h 117"/>
                  <a:gd name="T16" fmla="*/ 0 w 112"/>
                  <a:gd name="T17" fmla="*/ 3 h 117"/>
                  <a:gd name="T18" fmla="*/ 7 w 112"/>
                  <a:gd name="T19" fmla="*/ 17 h 117"/>
                  <a:gd name="T20" fmla="*/ 48 w 112"/>
                  <a:gd name="T21" fmla="*/ 70 h 117"/>
                  <a:gd name="T22" fmla="*/ 86 w 112"/>
                  <a:gd name="T23" fmla="*/ 111 h 117"/>
                  <a:gd name="T24" fmla="*/ 104 w 112"/>
                  <a:gd name="T25" fmla="*/ 10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2" h="117">
                    <a:moveTo>
                      <a:pt x="104" y="102"/>
                    </a:moveTo>
                    <a:cubicBezTo>
                      <a:pt x="104" y="96"/>
                      <a:pt x="105" y="90"/>
                      <a:pt x="109" y="85"/>
                    </a:cubicBezTo>
                    <a:cubicBezTo>
                      <a:pt x="112" y="82"/>
                      <a:pt x="111" y="79"/>
                      <a:pt x="108" y="77"/>
                    </a:cubicBezTo>
                    <a:cubicBezTo>
                      <a:pt x="106" y="76"/>
                      <a:pt x="103" y="76"/>
                      <a:pt x="103" y="77"/>
                    </a:cubicBezTo>
                    <a:cubicBezTo>
                      <a:pt x="104" y="87"/>
                      <a:pt x="98" y="82"/>
                      <a:pt x="96" y="80"/>
                    </a:cubicBezTo>
                    <a:cubicBezTo>
                      <a:pt x="90" y="75"/>
                      <a:pt x="80" y="69"/>
                      <a:pt x="80" y="63"/>
                    </a:cubicBezTo>
                    <a:cubicBezTo>
                      <a:pt x="78" y="44"/>
                      <a:pt x="64" y="41"/>
                      <a:pt x="52" y="34"/>
                    </a:cubicBezTo>
                    <a:cubicBezTo>
                      <a:pt x="48" y="32"/>
                      <a:pt x="46" y="30"/>
                      <a:pt x="44" y="28"/>
                    </a:cubicBezTo>
                    <a:cubicBezTo>
                      <a:pt x="31" y="16"/>
                      <a:pt x="22" y="0"/>
                      <a:pt x="0" y="3"/>
                    </a:cubicBezTo>
                    <a:cubicBezTo>
                      <a:pt x="0" y="9"/>
                      <a:pt x="3" y="13"/>
                      <a:pt x="7" y="17"/>
                    </a:cubicBezTo>
                    <a:cubicBezTo>
                      <a:pt x="25" y="31"/>
                      <a:pt x="39" y="50"/>
                      <a:pt x="48" y="70"/>
                    </a:cubicBezTo>
                    <a:cubicBezTo>
                      <a:pt x="57" y="89"/>
                      <a:pt x="72" y="98"/>
                      <a:pt x="86" y="111"/>
                    </a:cubicBezTo>
                    <a:cubicBezTo>
                      <a:pt x="93" y="117"/>
                      <a:pt x="103" y="112"/>
                      <a:pt x="104" y="10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18">
                <a:extLst>
                  <a:ext uri="{FF2B5EF4-FFF2-40B4-BE49-F238E27FC236}">
                    <a16:creationId xmlns:a16="http://schemas.microsoft.com/office/drawing/2014/main" id="{5AF9F753-BC60-9B5B-7CEE-6DC7F1A35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868" y="1690642"/>
                <a:ext cx="404270" cy="140147"/>
              </a:xfrm>
              <a:custGeom>
                <a:avLst/>
                <a:gdLst>
                  <a:gd name="T0" fmla="*/ 44 w 170"/>
                  <a:gd name="T1" fmla="*/ 35 h 59"/>
                  <a:gd name="T2" fmla="*/ 53 w 170"/>
                  <a:gd name="T3" fmla="*/ 48 h 59"/>
                  <a:gd name="T4" fmla="*/ 95 w 170"/>
                  <a:gd name="T5" fmla="*/ 52 h 59"/>
                  <a:gd name="T6" fmla="*/ 150 w 170"/>
                  <a:gd name="T7" fmla="*/ 51 h 59"/>
                  <a:gd name="T8" fmla="*/ 170 w 170"/>
                  <a:gd name="T9" fmla="*/ 39 h 59"/>
                  <a:gd name="T10" fmla="*/ 151 w 170"/>
                  <a:gd name="T11" fmla="*/ 29 h 59"/>
                  <a:gd name="T12" fmla="*/ 89 w 170"/>
                  <a:gd name="T13" fmla="*/ 30 h 59"/>
                  <a:gd name="T14" fmla="*/ 69 w 170"/>
                  <a:gd name="T15" fmla="*/ 17 h 59"/>
                  <a:gd name="T16" fmla="*/ 61 w 170"/>
                  <a:gd name="T17" fmla="*/ 12 h 59"/>
                  <a:gd name="T18" fmla="*/ 16 w 170"/>
                  <a:gd name="T19" fmla="*/ 2 h 59"/>
                  <a:gd name="T20" fmla="*/ 2 w 170"/>
                  <a:gd name="T21" fmla="*/ 7 h 59"/>
                  <a:gd name="T22" fmla="*/ 11 w 170"/>
                  <a:gd name="T23" fmla="*/ 13 h 59"/>
                  <a:gd name="T24" fmla="*/ 24 w 170"/>
                  <a:gd name="T25" fmla="*/ 17 h 59"/>
                  <a:gd name="T26" fmla="*/ 44 w 170"/>
                  <a:gd name="T27" fmla="*/ 3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0" h="59">
                    <a:moveTo>
                      <a:pt x="44" y="35"/>
                    </a:moveTo>
                    <a:cubicBezTo>
                      <a:pt x="44" y="42"/>
                      <a:pt x="47" y="44"/>
                      <a:pt x="53" y="48"/>
                    </a:cubicBezTo>
                    <a:cubicBezTo>
                      <a:pt x="67" y="56"/>
                      <a:pt x="81" y="47"/>
                      <a:pt x="95" y="52"/>
                    </a:cubicBezTo>
                    <a:cubicBezTo>
                      <a:pt x="112" y="59"/>
                      <a:pt x="132" y="45"/>
                      <a:pt x="150" y="51"/>
                    </a:cubicBezTo>
                    <a:cubicBezTo>
                      <a:pt x="163" y="56"/>
                      <a:pt x="170" y="47"/>
                      <a:pt x="170" y="39"/>
                    </a:cubicBezTo>
                    <a:cubicBezTo>
                      <a:pt x="170" y="30"/>
                      <a:pt x="159" y="30"/>
                      <a:pt x="151" y="29"/>
                    </a:cubicBezTo>
                    <a:cubicBezTo>
                      <a:pt x="130" y="27"/>
                      <a:pt x="110" y="34"/>
                      <a:pt x="89" y="30"/>
                    </a:cubicBezTo>
                    <a:cubicBezTo>
                      <a:pt x="82" y="29"/>
                      <a:pt x="64" y="40"/>
                      <a:pt x="69" y="17"/>
                    </a:cubicBezTo>
                    <a:cubicBezTo>
                      <a:pt x="70" y="14"/>
                      <a:pt x="64" y="11"/>
                      <a:pt x="61" y="12"/>
                    </a:cubicBezTo>
                    <a:cubicBezTo>
                      <a:pt x="45" y="14"/>
                      <a:pt x="31" y="6"/>
                      <a:pt x="16" y="2"/>
                    </a:cubicBezTo>
                    <a:cubicBezTo>
                      <a:pt x="11" y="1"/>
                      <a:pt x="3" y="0"/>
                      <a:pt x="2" y="7"/>
                    </a:cubicBezTo>
                    <a:cubicBezTo>
                      <a:pt x="0" y="13"/>
                      <a:pt x="8" y="10"/>
                      <a:pt x="11" y="13"/>
                    </a:cubicBezTo>
                    <a:cubicBezTo>
                      <a:pt x="14" y="16"/>
                      <a:pt x="19" y="17"/>
                      <a:pt x="24" y="17"/>
                    </a:cubicBezTo>
                    <a:cubicBezTo>
                      <a:pt x="37" y="16"/>
                      <a:pt x="45" y="21"/>
                      <a:pt x="44" y="3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19">
                <a:extLst>
                  <a:ext uri="{FF2B5EF4-FFF2-40B4-BE49-F238E27FC236}">
                    <a16:creationId xmlns:a16="http://schemas.microsoft.com/office/drawing/2014/main" id="{49DB48FA-690D-85D8-DA9C-41BB53D2B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3879" y="2151509"/>
                <a:ext cx="247952" cy="140147"/>
              </a:xfrm>
              <a:custGeom>
                <a:avLst/>
                <a:gdLst>
                  <a:gd name="T0" fmla="*/ 100 w 104"/>
                  <a:gd name="T1" fmla="*/ 23 h 59"/>
                  <a:gd name="T2" fmla="*/ 64 w 104"/>
                  <a:gd name="T3" fmla="*/ 12 h 59"/>
                  <a:gd name="T4" fmla="*/ 55 w 104"/>
                  <a:gd name="T5" fmla="*/ 13 h 59"/>
                  <a:gd name="T6" fmla="*/ 36 w 104"/>
                  <a:gd name="T7" fmla="*/ 21 h 59"/>
                  <a:gd name="T8" fmla="*/ 27 w 104"/>
                  <a:gd name="T9" fmla="*/ 19 h 59"/>
                  <a:gd name="T10" fmla="*/ 0 w 104"/>
                  <a:gd name="T11" fmla="*/ 23 h 59"/>
                  <a:gd name="T12" fmla="*/ 19 w 104"/>
                  <a:gd name="T13" fmla="*/ 24 h 59"/>
                  <a:gd name="T14" fmla="*/ 18 w 104"/>
                  <a:gd name="T15" fmla="*/ 48 h 59"/>
                  <a:gd name="T16" fmla="*/ 48 w 104"/>
                  <a:gd name="T17" fmla="*/ 57 h 59"/>
                  <a:gd name="T18" fmla="*/ 100 w 104"/>
                  <a:gd name="T19" fmla="*/ 33 h 59"/>
                  <a:gd name="T20" fmla="*/ 100 w 104"/>
                  <a:gd name="T21" fmla="*/ 2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59">
                    <a:moveTo>
                      <a:pt x="100" y="23"/>
                    </a:moveTo>
                    <a:cubicBezTo>
                      <a:pt x="89" y="13"/>
                      <a:pt x="80" y="0"/>
                      <a:pt x="64" y="12"/>
                    </a:cubicBezTo>
                    <a:cubicBezTo>
                      <a:pt x="62" y="14"/>
                      <a:pt x="58" y="12"/>
                      <a:pt x="55" y="13"/>
                    </a:cubicBezTo>
                    <a:cubicBezTo>
                      <a:pt x="48" y="15"/>
                      <a:pt x="39" y="11"/>
                      <a:pt x="36" y="21"/>
                    </a:cubicBezTo>
                    <a:cubicBezTo>
                      <a:pt x="35" y="23"/>
                      <a:pt x="30" y="23"/>
                      <a:pt x="27" y="19"/>
                    </a:cubicBezTo>
                    <a:cubicBezTo>
                      <a:pt x="18" y="3"/>
                      <a:pt x="9" y="5"/>
                      <a:pt x="0" y="23"/>
                    </a:cubicBezTo>
                    <a:cubicBezTo>
                      <a:pt x="6" y="23"/>
                      <a:pt x="12" y="21"/>
                      <a:pt x="19" y="24"/>
                    </a:cubicBezTo>
                    <a:cubicBezTo>
                      <a:pt x="10" y="32"/>
                      <a:pt x="25" y="40"/>
                      <a:pt x="18" y="48"/>
                    </a:cubicBezTo>
                    <a:cubicBezTo>
                      <a:pt x="29" y="48"/>
                      <a:pt x="39" y="59"/>
                      <a:pt x="48" y="57"/>
                    </a:cubicBezTo>
                    <a:cubicBezTo>
                      <a:pt x="67" y="53"/>
                      <a:pt x="86" y="47"/>
                      <a:pt x="100" y="33"/>
                    </a:cubicBezTo>
                    <a:cubicBezTo>
                      <a:pt x="104" y="29"/>
                      <a:pt x="103" y="26"/>
                      <a:pt x="100" y="2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0">
                <a:extLst>
                  <a:ext uri="{FF2B5EF4-FFF2-40B4-BE49-F238E27FC236}">
                    <a16:creationId xmlns:a16="http://schemas.microsoft.com/office/drawing/2014/main" id="{87002418-D46B-A9F4-FE16-C21C944CE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4430" y="3005865"/>
                <a:ext cx="278946" cy="226391"/>
              </a:xfrm>
              <a:custGeom>
                <a:avLst/>
                <a:gdLst>
                  <a:gd name="T0" fmla="*/ 77 w 117"/>
                  <a:gd name="T1" fmla="*/ 47 h 95"/>
                  <a:gd name="T2" fmla="*/ 50 w 117"/>
                  <a:gd name="T3" fmla="*/ 67 h 95"/>
                  <a:gd name="T4" fmla="*/ 45 w 117"/>
                  <a:gd name="T5" fmla="*/ 67 h 95"/>
                  <a:gd name="T6" fmla="*/ 0 w 117"/>
                  <a:gd name="T7" fmla="*/ 86 h 95"/>
                  <a:gd name="T8" fmla="*/ 31 w 117"/>
                  <a:gd name="T9" fmla="*/ 79 h 95"/>
                  <a:gd name="T10" fmla="*/ 44 w 117"/>
                  <a:gd name="T11" fmla="*/ 81 h 95"/>
                  <a:gd name="T12" fmla="*/ 57 w 117"/>
                  <a:gd name="T13" fmla="*/ 83 h 95"/>
                  <a:gd name="T14" fmla="*/ 61 w 117"/>
                  <a:gd name="T15" fmla="*/ 80 h 95"/>
                  <a:gd name="T16" fmla="*/ 79 w 117"/>
                  <a:gd name="T17" fmla="*/ 77 h 95"/>
                  <a:gd name="T18" fmla="*/ 100 w 117"/>
                  <a:gd name="T19" fmla="*/ 55 h 95"/>
                  <a:gd name="T20" fmla="*/ 104 w 117"/>
                  <a:gd name="T21" fmla="*/ 37 h 95"/>
                  <a:gd name="T22" fmla="*/ 107 w 117"/>
                  <a:gd name="T23" fmla="*/ 10 h 95"/>
                  <a:gd name="T24" fmla="*/ 94 w 117"/>
                  <a:gd name="T25" fmla="*/ 7 h 95"/>
                  <a:gd name="T26" fmla="*/ 90 w 117"/>
                  <a:gd name="T27" fmla="*/ 20 h 95"/>
                  <a:gd name="T28" fmla="*/ 77 w 117"/>
                  <a:gd name="T29" fmla="*/ 47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7" h="95">
                    <a:moveTo>
                      <a:pt x="77" y="47"/>
                    </a:moveTo>
                    <a:cubicBezTo>
                      <a:pt x="66" y="52"/>
                      <a:pt x="54" y="54"/>
                      <a:pt x="50" y="67"/>
                    </a:cubicBezTo>
                    <a:cubicBezTo>
                      <a:pt x="49" y="69"/>
                      <a:pt x="46" y="67"/>
                      <a:pt x="45" y="67"/>
                    </a:cubicBezTo>
                    <a:cubicBezTo>
                      <a:pt x="29" y="70"/>
                      <a:pt x="12" y="69"/>
                      <a:pt x="0" y="86"/>
                    </a:cubicBezTo>
                    <a:cubicBezTo>
                      <a:pt x="12" y="88"/>
                      <a:pt x="21" y="81"/>
                      <a:pt x="31" y="79"/>
                    </a:cubicBezTo>
                    <a:cubicBezTo>
                      <a:pt x="35" y="78"/>
                      <a:pt x="42" y="76"/>
                      <a:pt x="44" y="81"/>
                    </a:cubicBezTo>
                    <a:cubicBezTo>
                      <a:pt x="47" y="95"/>
                      <a:pt x="52" y="92"/>
                      <a:pt x="57" y="83"/>
                    </a:cubicBezTo>
                    <a:cubicBezTo>
                      <a:pt x="58" y="81"/>
                      <a:pt x="58" y="78"/>
                      <a:pt x="61" y="80"/>
                    </a:cubicBezTo>
                    <a:cubicBezTo>
                      <a:pt x="68" y="85"/>
                      <a:pt x="74" y="80"/>
                      <a:pt x="79" y="77"/>
                    </a:cubicBezTo>
                    <a:cubicBezTo>
                      <a:pt x="89" y="74"/>
                      <a:pt x="102" y="72"/>
                      <a:pt x="100" y="55"/>
                    </a:cubicBezTo>
                    <a:cubicBezTo>
                      <a:pt x="100" y="50"/>
                      <a:pt x="99" y="40"/>
                      <a:pt x="104" y="37"/>
                    </a:cubicBezTo>
                    <a:cubicBezTo>
                      <a:pt x="117" y="29"/>
                      <a:pt x="109" y="19"/>
                      <a:pt x="107" y="10"/>
                    </a:cubicBezTo>
                    <a:cubicBezTo>
                      <a:pt x="104" y="0"/>
                      <a:pt x="98" y="4"/>
                      <a:pt x="94" y="7"/>
                    </a:cubicBezTo>
                    <a:cubicBezTo>
                      <a:pt x="91" y="10"/>
                      <a:pt x="90" y="15"/>
                      <a:pt x="90" y="20"/>
                    </a:cubicBezTo>
                    <a:cubicBezTo>
                      <a:pt x="91" y="31"/>
                      <a:pt x="86" y="42"/>
                      <a:pt x="77" y="4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">
                <a:extLst>
                  <a:ext uri="{FF2B5EF4-FFF2-40B4-BE49-F238E27FC236}">
                    <a16:creationId xmlns:a16="http://schemas.microsoft.com/office/drawing/2014/main" id="{4F1F686E-BCB6-DE30-5857-890BF1583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4440" y="1700076"/>
                <a:ext cx="269513" cy="126671"/>
              </a:xfrm>
              <a:custGeom>
                <a:avLst/>
                <a:gdLst>
                  <a:gd name="T0" fmla="*/ 15 w 113"/>
                  <a:gd name="T1" fmla="*/ 21 h 53"/>
                  <a:gd name="T2" fmla="*/ 8 w 113"/>
                  <a:gd name="T3" fmla="*/ 23 h 53"/>
                  <a:gd name="T4" fmla="*/ 0 w 113"/>
                  <a:gd name="T5" fmla="*/ 34 h 53"/>
                  <a:gd name="T6" fmla="*/ 11 w 113"/>
                  <a:gd name="T7" fmla="*/ 37 h 53"/>
                  <a:gd name="T8" fmla="*/ 46 w 113"/>
                  <a:gd name="T9" fmla="*/ 38 h 53"/>
                  <a:gd name="T10" fmla="*/ 32 w 113"/>
                  <a:gd name="T11" fmla="*/ 43 h 53"/>
                  <a:gd name="T12" fmla="*/ 28 w 113"/>
                  <a:gd name="T13" fmla="*/ 46 h 53"/>
                  <a:gd name="T14" fmla="*/ 32 w 113"/>
                  <a:gd name="T15" fmla="*/ 51 h 53"/>
                  <a:gd name="T16" fmla="*/ 42 w 113"/>
                  <a:gd name="T17" fmla="*/ 52 h 53"/>
                  <a:gd name="T18" fmla="*/ 83 w 113"/>
                  <a:gd name="T19" fmla="*/ 39 h 53"/>
                  <a:gd name="T20" fmla="*/ 104 w 113"/>
                  <a:gd name="T21" fmla="*/ 38 h 53"/>
                  <a:gd name="T22" fmla="*/ 113 w 113"/>
                  <a:gd name="T23" fmla="*/ 24 h 53"/>
                  <a:gd name="T24" fmla="*/ 102 w 113"/>
                  <a:gd name="T25" fmla="*/ 19 h 53"/>
                  <a:gd name="T26" fmla="*/ 88 w 113"/>
                  <a:gd name="T27" fmla="*/ 15 h 53"/>
                  <a:gd name="T28" fmla="*/ 73 w 113"/>
                  <a:gd name="T29" fmla="*/ 6 h 53"/>
                  <a:gd name="T30" fmla="*/ 73 w 113"/>
                  <a:gd name="T31" fmla="*/ 24 h 53"/>
                  <a:gd name="T32" fmla="*/ 74 w 113"/>
                  <a:gd name="T33" fmla="*/ 30 h 53"/>
                  <a:gd name="T34" fmla="*/ 59 w 113"/>
                  <a:gd name="T35" fmla="*/ 26 h 53"/>
                  <a:gd name="T36" fmla="*/ 23 w 113"/>
                  <a:gd name="T37" fmla="*/ 8 h 53"/>
                  <a:gd name="T38" fmla="*/ 9 w 113"/>
                  <a:gd name="T39" fmla="*/ 15 h 53"/>
                  <a:gd name="T40" fmla="*/ 15 w 113"/>
                  <a:gd name="T41" fmla="*/ 2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53">
                    <a:moveTo>
                      <a:pt x="15" y="21"/>
                    </a:moveTo>
                    <a:cubicBezTo>
                      <a:pt x="13" y="21"/>
                      <a:pt x="11" y="23"/>
                      <a:pt x="8" y="23"/>
                    </a:cubicBezTo>
                    <a:cubicBezTo>
                      <a:pt x="3" y="25"/>
                      <a:pt x="0" y="31"/>
                      <a:pt x="0" y="34"/>
                    </a:cubicBezTo>
                    <a:cubicBezTo>
                      <a:pt x="1" y="40"/>
                      <a:pt x="7" y="38"/>
                      <a:pt x="11" y="37"/>
                    </a:cubicBezTo>
                    <a:cubicBezTo>
                      <a:pt x="23" y="34"/>
                      <a:pt x="35" y="35"/>
                      <a:pt x="46" y="38"/>
                    </a:cubicBezTo>
                    <a:cubicBezTo>
                      <a:pt x="44" y="45"/>
                      <a:pt x="38" y="42"/>
                      <a:pt x="32" y="43"/>
                    </a:cubicBezTo>
                    <a:cubicBezTo>
                      <a:pt x="31" y="43"/>
                      <a:pt x="29" y="45"/>
                      <a:pt x="28" y="46"/>
                    </a:cubicBezTo>
                    <a:cubicBezTo>
                      <a:pt x="27" y="50"/>
                      <a:pt x="31" y="49"/>
                      <a:pt x="32" y="51"/>
                    </a:cubicBezTo>
                    <a:cubicBezTo>
                      <a:pt x="35" y="53"/>
                      <a:pt x="39" y="52"/>
                      <a:pt x="42" y="52"/>
                    </a:cubicBezTo>
                    <a:cubicBezTo>
                      <a:pt x="57" y="51"/>
                      <a:pt x="69" y="41"/>
                      <a:pt x="83" y="39"/>
                    </a:cubicBezTo>
                    <a:cubicBezTo>
                      <a:pt x="90" y="38"/>
                      <a:pt x="97" y="41"/>
                      <a:pt x="104" y="38"/>
                    </a:cubicBezTo>
                    <a:cubicBezTo>
                      <a:pt x="111" y="35"/>
                      <a:pt x="113" y="30"/>
                      <a:pt x="113" y="24"/>
                    </a:cubicBezTo>
                    <a:cubicBezTo>
                      <a:pt x="113" y="16"/>
                      <a:pt x="106" y="18"/>
                      <a:pt x="102" y="19"/>
                    </a:cubicBezTo>
                    <a:cubicBezTo>
                      <a:pt x="95" y="21"/>
                      <a:pt x="92" y="21"/>
                      <a:pt x="88" y="15"/>
                    </a:cubicBezTo>
                    <a:cubicBezTo>
                      <a:pt x="85" y="10"/>
                      <a:pt x="84" y="0"/>
                      <a:pt x="73" y="6"/>
                    </a:cubicBezTo>
                    <a:cubicBezTo>
                      <a:pt x="63" y="12"/>
                      <a:pt x="74" y="18"/>
                      <a:pt x="73" y="24"/>
                    </a:cubicBezTo>
                    <a:cubicBezTo>
                      <a:pt x="72" y="25"/>
                      <a:pt x="78" y="25"/>
                      <a:pt x="74" y="30"/>
                    </a:cubicBezTo>
                    <a:cubicBezTo>
                      <a:pt x="69" y="29"/>
                      <a:pt x="62" y="29"/>
                      <a:pt x="59" y="26"/>
                    </a:cubicBezTo>
                    <a:cubicBezTo>
                      <a:pt x="49" y="16"/>
                      <a:pt x="35" y="15"/>
                      <a:pt x="23" y="8"/>
                    </a:cubicBezTo>
                    <a:cubicBezTo>
                      <a:pt x="14" y="4"/>
                      <a:pt x="12" y="12"/>
                      <a:pt x="9" y="15"/>
                    </a:cubicBezTo>
                    <a:cubicBezTo>
                      <a:pt x="5" y="19"/>
                      <a:pt x="13" y="18"/>
                      <a:pt x="15" y="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2">
                <a:extLst>
                  <a:ext uri="{FF2B5EF4-FFF2-40B4-BE49-F238E27FC236}">
                    <a16:creationId xmlns:a16="http://schemas.microsoft.com/office/drawing/2014/main" id="{C2E16F34-F5B0-0770-3144-322E16994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3477" y="1468295"/>
                <a:ext cx="179226" cy="145537"/>
              </a:xfrm>
              <a:custGeom>
                <a:avLst/>
                <a:gdLst>
                  <a:gd name="T0" fmla="*/ 9 w 75"/>
                  <a:gd name="T1" fmla="*/ 38 h 61"/>
                  <a:gd name="T2" fmla="*/ 18 w 75"/>
                  <a:gd name="T3" fmla="*/ 43 h 61"/>
                  <a:gd name="T4" fmla="*/ 58 w 75"/>
                  <a:gd name="T5" fmla="*/ 56 h 61"/>
                  <a:gd name="T6" fmla="*/ 73 w 75"/>
                  <a:gd name="T7" fmla="*/ 38 h 61"/>
                  <a:gd name="T8" fmla="*/ 59 w 75"/>
                  <a:gd name="T9" fmla="*/ 32 h 61"/>
                  <a:gd name="T10" fmla="*/ 48 w 75"/>
                  <a:gd name="T11" fmla="*/ 17 h 61"/>
                  <a:gd name="T12" fmla="*/ 48 w 75"/>
                  <a:gd name="T13" fmla="*/ 12 h 61"/>
                  <a:gd name="T14" fmla="*/ 31 w 75"/>
                  <a:gd name="T15" fmla="*/ 2 h 61"/>
                  <a:gd name="T16" fmla="*/ 13 w 75"/>
                  <a:gd name="T17" fmla="*/ 13 h 61"/>
                  <a:gd name="T18" fmla="*/ 6 w 75"/>
                  <a:gd name="T19" fmla="*/ 29 h 61"/>
                  <a:gd name="T20" fmla="*/ 9 w 75"/>
                  <a:gd name="T21" fmla="*/ 38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" h="61">
                    <a:moveTo>
                      <a:pt x="9" y="38"/>
                    </a:moveTo>
                    <a:cubicBezTo>
                      <a:pt x="13" y="39"/>
                      <a:pt x="15" y="41"/>
                      <a:pt x="18" y="43"/>
                    </a:cubicBezTo>
                    <a:cubicBezTo>
                      <a:pt x="31" y="48"/>
                      <a:pt x="42" y="57"/>
                      <a:pt x="58" y="56"/>
                    </a:cubicBezTo>
                    <a:cubicBezTo>
                      <a:pt x="73" y="61"/>
                      <a:pt x="71" y="45"/>
                      <a:pt x="73" y="38"/>
                    </a:cubicBezTo>
                    <a:cubicBezTo>
                      <a:pt x="75" y="28"/>
                      <a:pt x="64" y="34"/>
                      <a:pt x="59" y="32"/>
                    </a:cubicBezTo>
                    <a:cubicBezTo>
                      <a:pt x="53" y="29"/>
                      <a:pt x="40" y="31"/>
                      <a:pt x="48" y="17"/>
                    </a:cubicBezTo>
                    <a:cubicBezTo>
                      <a:pt x="49" y="16"/>
                      <a:pt x="49" y="12"/>
                      <a:pt x="48" y="12"/>
                    </a:cubicBezTo>
                    <a:cubicBezTo>
                      <a:pt x="42" y="10"/>
                      <a:pt x="40" y="0"/>
                      <a:pt x="31" y="2"/>
                    </a:cubicBezTo>
                    <a:cubicBezTo>
                      <a:pt x="24" y="3"/>
                      <a:pt x="15" y="3"/>
                      <a:pt x="13" y="13"/>
                    </a:cubicBezTo>
                    <a:cubicBezTo>
                      <a:pt x="12" y="19"/>
                      <a:pt x="8" y="23"/>
                      <a:pt x="6" y="29"/>
                    </a:cubicBezTo>
                    <a:cubicBezTo>
                      <a:pt x="3" y="36"/>
                      <a:pt x="0" y="36"/>
                      <a:pt x="9" y="3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3">
                <a:extLst>
                  <a:ext uri="{FF2B5EF4-FFF2-40B4-BE49-F238E27FC236}">
                    <a16:creationId xmlns:a16="http://schemas.microsoft.com/office/drawing/2014/main" id="{DAB9125E-9494-98F4-47F2-9E0FADFEF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8006" y="5083809"/>
                <a:ext cx="181922" cy="187311"/>
              </a:xfrm>
              <a:custGeom>
                <a:avLst/>
                <a:gdLst>
                  <a:gd name="T0" fmla="*/ 57 w 76"/>
                  <a:gd name="T1" fmla="*/ 10 h 79"/>
                  <a:gd name="T2" fmla="*/ 14 w 76"/>
                  <a:gd name="T3" fmla="*/ 52 h 79"/>
                  <a:gd name="T4" fmla="*/ 4 w 76"/>
                  <a:gd name="T5" fmla="*/ 67 h 79"/>
                  <a:gd name="T6" fmla="*/ 24 w 76"/>
                  <a:gd name="T7" fmla="*/ 77 h 79"/>
                  <a:gd name="T8" fmla="*/ 40 w 76"/>
                  <a:gd name="T9" fmla="*/ 68 h 79"/>
                  <a:gd name="T10" fmla="*/ 55 w 76"/>
                  <a:gd name="T11" fmla="*/ 46 h 79"/>
                  <a:gd name="T12" fmla="*/ 75 w 76"/>
                  <a:gd name="T13" fmla="*/ 17 h 79"/>
                  <a:gd name="T14" fmla="*/ 74 w 76"/>
                  <a:gd name="T15" fmla="*/ 10 h 79"/>
                  <a:gd name="T16" fmla="*/ 57 w 76"/>
                  <a:gd name="T17" fmla="*/ 1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79">
                    <a:moveTo>
                      <a:pt x="57" y="10"/>
                    </a:moveTo>
                    <a:cubicBezTo>
                      <a:pt x="49" y="31"/>
                      <a:pt x="29" y="39"/>
                      <a:pt x="14" y="52"/>
                    </a:cubicBezTo>
                    <a:cubicBezTo>
                      <a:pt x="8" y="56"/>
                      <a:pt x="0" y="60"/>
                      <a:pt x="4" y="67"/>
                    </a:cubicBezTo>
                    <a:cubicBezTo>
                      <a:pt x="7" y="74"/>
                      <a:pt x="15" y="78"/>
                      <a:pt x="24" y="77"/>
                    </a:cubicBezTo>
                    <a:cubicBezTo>
                      <a:pt x="31" y="79"/>
                      <a:pt x="35" y="74"/>
                      <a:pt x="40" y="68"/>
                    </a:cubicBezTo>
                    <a:cubicBezTo>
                      <a:pt x="44" y="61"/>
                      <a:pt x="46" y="51"/>
                      <a:pt x="55" y="46"/>
                    </a:cubicBezTo>
                    <a:cubicBezTo>
                      <a:pt x="66" y="40"/>
                      <a:pt x="71" y="28"/>
                      <a:pt x="75" y="17"/>
                    </a:cubicBezTo>
                    <a:cubicBezTo>
                      <a:pt x="76" y="15"/>
                      <a:pt x="74" y="9"/>
                      <a:pt x="74" y="10"/>
                    </a:cubicBezTo>
                    <a:cubicBezTo>
                      <a:pt x="68" y="17"/>
                      <a:pt x="61" y="0"/>
                      <a:pt x="57" y="1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4">
                <a:extLst>
                  <a:ext uri="{FF2B5EF4-FFF2-40B4-BE49-F238E27FC236}">
                    <a16:creationId xmlns:a16="http://schemas.microsoft.com/office/drawing/2014/main" id="{16555767-004D-4DB9-A10A-9A960BA2C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2679" y="1824051"/>
                <a:ext cx="150927" cy="138798"/>
              </a:xfrm>
              <a:custGeom>
                <a:avLst/>
                <a:gdLst>
                  <a:gd name="T0" fmla="*/ 10 w 63"/>
                  <a:gd name="T1" fmla="*/ 27 h 58"/>
                  <a:gd name="T2" fmla="*/ 2 w 63"/>
                  <a:gd name="T3" fmla="*/ 29 h 58"/>
                  <a:gd name="T4" fmla="*/ 7 w 63"/>
                  <a:gd name="T5" fmla="*/ 37 h 58"/>
                  <a:gd name="T6" fmla="*/ 29 w 63"/>
                  <a:gd name="T7" fmla="*/ 53 h 58"/>
                  <a:gd name="T8" fmla="*/ 41 w 63"/>
                  <a:gd name="T9" fmla="*/ 57 h 58"/>
                  <a:gd name="T10" fmla="*/ 60 w 63"/>
                  <a:gd name="T11" fmla="*/ 25 h 58"/>
                  <a:gd name="T12" fmla="*/ 44 w 63"/>
                  <a:gd name="T13" fmla="*/ 26 h 58"/>
                  <a:gd name="T14" fmla="*/ 49 w 63"/>
                  <a:gd name="T15" fmla="*/ 21 h 58"/>
                  <a:gd name="T16" fmla="*/ 55 w 63"/>
                  <a:gd name="T17" fmla="*/ 12 h 58"/>
                  <a:gd name="T18" fmla="*/ 43 w 63"/>
                  <a:gd name="T19" fmla="*/ 4 h 58"/>
                  <a:gd name="T20" fmla="*/ 19 w 63"/>
                  <a:gd name="T21" fmla="*/ 9 h 58"/>
                  <a:gd name="T22" fmla="*/ 13 w 63"/>
                  <a:gd name="T23" fmla="*/ 15 h 58"/>
                  <a:gd name="T24" fmla="*/ 15 w 63"/>
                  <a:gd name="T25" fmla="*/ 20 h 58"/>
                  <a:gd name="T26" fmla="*/ 25 w 63"/>
                  <a:gd name="T27" fmla="*/ 25 h 58"/>
                  <a:gd name="T28" fmla="*/ 10 w 63"/>
                  <a:gd name="T29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58">
                    <a:moveTo>
                      <a:pt x="10" y="27"/>
                    </a:moveTo>
                    <a:cubicBezTo>
                      <a:pt x="8" y="26"/>
                      <a:pt x="3" y="25"/>
                      <a:pt x="2" y="29"/>
                    </a:cubicBezTo>
                    <a:cubicBezTo>
                      <a:pt x="0" y="33"/>
                      <a:pt x="4" y="37"/>
                      <a:pt x="7" y="37"/>
                    </a:cubicBezTo>
                    <a:cubicBezTo>
                      <a:pt x="16" y="40"/>
                      <a:pt x="22" y="47"/>
                      <a:pt x="29" y="53"/>
                    </a:cubicBezTo>
                    <a:cubicBezTo>
                      <a:pt x="32" y="57"/>
                      <a:pt x="37" y="58"/>
                      <a:pt x="41" y="57"/>
                    </a:cubicBezTo>
                    <a:cubicBezTo>
                      <a:pt x="60" y="51"/>
                      <a:pt x="63" y="46"/>
                      <a:pt x="60" y="25"/>
                    </a:cubicBezTo>
                    <a:cubicBezTo>
                      <a:pt x="55" y="28"/>
                      <a:pt x="49" y="27"/>
                      <a:pt x="44" y="26"/>
                    </a:cubicBezTo>
                    <a:cubicBezTo>
                      <a:pt x="44" y="21"/>
                      <a:pt x="47" y="21"/>
                      <a:pt x="49" y="21"/>
                    </a:cubicBezTo>
                    <a:cubicBezTo>
                      <a:pt x="54" y="20"/>
                      <a:pt x="57" y="16"/>
                      <a:pt x="55" y="12"/>
                    </a:cubicBezTo>
                    <a:cubicBezTo>
                      <a:pt x="52" y="8"/>
                      <a:pt x="47" y="0"/>
                      <a:pt x="43" y="4"/>
                    </a:cubicBezTo>
                    <a:cubicBezTo>
                      <a:pt x="36" y="12"/>
                      <a:pt x="27" y="8"/>
                      <a:pt x="19" y="9"/>
                    </a:cubicBezTo>
                    <a:cubicBezTo>
                      <a:pt x="16" y="10"/>
                      <a:pt x="14" y="12"/>
                      <a:pt x="13" y="15"/>
                    </a:cubicBezTo>
                    <a:cubicBezTo>
                      <a:pt x="13" y="17"/>
                      <a:pt x="13" y="20"/>
                      <a:pt x="15" y="20"/>
                    </a:cubicBezTo>
                    <a:cubicBezTo>
                      <a:pt x="20" y="19"/>
                      <a:pt x="27" y="16"/>
                      <a:pt x="25" y="25"/>
                    </a:cubicBezTo>
                    <a:cubicBezTo>
                      <a:pt x="22" y="34"/>
                      <a:pt x="17" y="32"/>
                      <a:pt x="10" y="2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5">
                <a:extLst>
                  <a:ext uri="{FF2B5EF4-FFF2-40B4-BE49-F238E27FC236}">
                    <a16:creationId xmlns:a16="http://schemas.microsoft.com/office/drawing/2014/main" id="{6A566903-948E-6F6D-FED6-B31ECA5F0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1905" y="2575992"/>
                <a:ext cx="123976" cy="121280"/>
              </a:xfrm>
              <a:custGeom>
                <a:avLst/>
                <a:gdLst>
                  <a:gd name="T0" fmla="*/ 13 w 52"/>
                  <a:gd name="T1" fmla="*/ 51 h 51"/>
                  <a:gd name="T2" fmla="*/ 43 w 52"/>
                  <a:gd name="T3" fmla="*/ 41 h 51"/>
                  <a:gd name="T4" fmla="*/ 43 w 52"/>
                  <a:gd name="T5" fmla="*/ 23 h 51"/>
                  <a:gd name="T6" fmla="*/ 47 w 52"/>
                  <a:gd name="T7" fmla="*/ 15 h 51"/>
                  <a:gd name="T8" fmla="*/ 39 w 52"/>
                  <a:gd name="T9" fmla="*/ 0 h 51"/>
                  <a:gd name="T10" fmla="*/ 9 w 52"/>
                  <a:gd name="T11" fmla="*/ 15 h 51"/>
                  <a:gd name="T12" fmla="*/ 7 w 52"/>
                  <a:gd name="T13" fmla="*/ 22 h 51"/>
                  <a:gd name="T14" fmla="*/ 6 w 52"/>
                  <a:gd name="T15" fmla="*/ 39 h 51"/>
                  <a:gd name="T16" fmla="*/ 13 w 52"/>
                  <a:gd name="T17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51">
                    <a:moveTo>
                      <a:pt x="13" y="51"/>
                    </a:moveTo>
                    <a:cubicBezTo>
                      <a:pt x="23" y="49"/>
                      <a:pt x="34" y="46"/>
                      <a:pt x="43" y="41"/>
                    </a:cubicBezTo>
                    <a:cubicBezTo>
                      <a:pt x="48" y="38"/>
                      <a:pt x="46" y="29"/>
                      <a:pt x="43" y="23"/>
                    </a:cubicBezTo>
                    <a:cubicBezTo>
                      <a:pt x="42" y="20"/>
                      <a:pt x="45" y="18"/>
                      <a:pt x="47" y="15"/>
                    </a:cubicBezTo>
                    <a:cubicBezTo>
                      <a:pt x="52" y="7"/>
                      <a:pt x="49" y="0"/>
                      <a:pt x="39" y="0"/>
                    </a:cubicBezTo>
                    <a:cubicBezTo>
                      <a:pt x="35" y="0"/>
                      <a:pt x="10" y="12"/>
                      <a:pt x="9" y="15"/>
                    </a:cubicBezTo>
                    <a:cubicBezTo>
                      <a:pt x="8" y="18"/>
                      <a:pt x="6" y="21"/>
                      <a:pt x="7" y="22"/>
                    </a:cubicBezTo>
                    <a:cubicBezTo>
                      <a:pt x="13" y="28"/>
                      <a:pt x="11" y="33"/>
                      <a:pt x="6" y="39"/>
                    </a:cubicBezTo>
                    <a:cubicBezTo>
                      <a:pt x="0" y="47"/>
                      <a:pt x="7" y="51"/>
                      <a:pt x="13" y="5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">
                <a:extLst>
                  <a:ext uri="{FF2B5EF4-FFF2-40B4-BE49-F238E27FC236}">
                    <a16:creationId xmlns:a16="http://schemas.microsoft.com/office/drawing/2014/main" id="{977F398B-267D-C4A0-BA93-1A5EFFF75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2663" y="1733764"/>
                <a:ext cx="192702" cy="86244"/>
              </a:xfrm>
              <a:custGeom>
                <a:avLst/>
                <a:gdLst>
                  <a:gd name="T0" fmla="*/ 16 w 81"/>
                  <a:gd name="T1" fmla="*/ 29 h 36"/>
                  <a:gd name="T2" fmla="*/ 55 w 81"/>
                  <a:gd name="T3" fmla="*/ 22 h 36"/>
                  <a:gd name="T4" fmla="*/ 55 w 81"/>
                  <a:gd name="T5" fmla="*/ 20 h 36"/>
                  <a:gd name="T6" fmla="*/ 65 w 81"/>
                  <a:gd name="T7" fmla="*/ 27 h 36"/>
                  <a:gd name="T8" fmla="*/ 77 w 81"/>
                  <a:gd name="T9" fmla="*/ 23 h 36"/>
                  <a:gd name="T10" fmla="*/ 77 w 81"/>
                  <a:gd name="T11" fmla="*/ 13 h 36"/>
                  <a:gd name="T12" fmla="*/ 48 w 81"/>
                  <a:gd name="T13" fmla="*/ 6 h 36"/>
                  <a:gd name="T14" fmla="*/ 24 w 81"/>
                  <a:gd name="T15" fmla="*/ 4 h 36"/>
                  <a:gd name="T16" fmla="*/ 8 w 81"/>
                  <a:gd name="T17" fmla="*/ 9 h 36"/>
                  <a:gd name="T18" fmla="*/ 3 w 81"/>
                  <a:gd name="T19" fmla="*/ 22 h 36"/>
                  <a:gd name="T20" fmla="*/ 16 w 81"/>
                  <a:gd name="T21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1" h="36">
                    <a:moveTo>
                      <a:pt x="16" y="29"/>
                    </a:moveTo>
                    <a:cubicBezTo>
                      <a:pt x="29" y="26"/>
                      <a:pt x="44" y="36"/>
                      <a:pt x="55" y="22"/>
                    </a:cubicBezTo>
                    <a:cubicBezTo>
                      <a:pt x="56" y="21"/>
                      <a:pt x="55" y="20"/>
                      <a:pt x="55" y="20"/>
                    </a:cubicBezTo>
                    <a:cubicBezTo>
                      <a:pt x="58" y="22"/>
                      <a:pt x="61" y="25"/>
                      <a:pt x="65" y="27"/>
                    </a:cubicBezTo>
                    <a:cubicBezTo>
                      <a:pt x="70" y="30"/>
                      <a:pt x="74" y="29"/>
                      <a:pt x="77" y="23"/>
                    </a:cubicBezTo>
                    <a:cubicBezTo>
                      <a:pt x="79" y="20"/>
                      <a:pt x="81" y="14"/>
                      <a:pt x="77" y="13"/>
                    </a:cubicBezTo>
                    <a:cubicBezTo>
                      <a:pt x="67" y="10"/>
                      <a:pt x="56" y="1"/>
                      <a:pt x="48" y="6"/>
                    </a:cubicBezTo>
                    <a:cubicBezTo>
                      <a:pt x="37" y="13"/>
                      <a:pt x="32" y="8"/>
                      <a:pt x="24" y="4"/>
                    </a:cubicBezTo>
                    <a:cubicBezTo>
                      <a:pt x="17" y="0"/>
                      <a:pt x="12" y="5"/>
                      <a:pt x="8" y="9"/>
                    </a:cubicBezTo>
                    <a:cubicBezTo>
                      <a:pt x="4" y="12"/>
                      <a:pt x="0" y="17"/>
                      <a:pt x="3" y="22"/>
                    </a:cubicBezTo>
                    <a:cubicBezTo>
                      <a:pt x="5" y="27"/>
                      <a:pt x="10" y="31"/>
                      <a:pt x="16" y="2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">
                <a:extLst>
                  <a:ext uri="{FF2B5EF4-FFF2-40B4-BE49-F238E27FC236}">
                    <a16:creationId xmlns:a16="http://schemas.microsoft.com/office/drawing/2014/main" id="{1A7492D1-43BA-5373-48DF-465775B2B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077" y="1514111"/>
                <a:ext cx="216958" cy="76811"/>
              </a:xfrm>
              <a:custGeom>
                <a:avLst/>
                <a:gdLst>
                  <a:gd name="T0" fmla="*/ 33 w 91"/>
                  <a:gd name="T1" fmla="*/ 15 h 32"/>
                  <a:gd name="T2" fmla="*/ 18 w 91"/>
                  <a:gd name="T3" fmla="*/ 23 h 32"/>
                  <a:gd name="T4" fmla="*/ 91 w 91"/>
                  <a:gd name="T5" fmla="*/ 8 h 32"/>
                  <a:gd name="T6" fmla="*/ 0 w 91"/>
                  <a:gd name="T7" fmla="*/ 1 h 32"/>
                  <a:gd name="T8" fmla="*/ 33 w 91"/>
                  <a:gd name="T9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32">
                    <a:moveTo>
                      <a:pt x="33" y="15"/>
                    </a:moveTo>
                    <a:cubicBezTo>
                      <a:pt x="28" y="17"/>
                      <a:pt x="25" y="19"/>
                      <a:pt x="18" y="23"/>
                    </a:cubicBezTo>
                    <a:cubicBezTo>
                      <a:pt x="46" y="27"/>
                      <a:pt x="70" y="32"/>
                      <a:pt x="91" y="8"/>
                    </a:cubicBezTo>
                    <a:cubicBezTo>
                      <a:pt x="60" y="0"/>
                      <a:pt x="30" y="5"/>
                      <a:pt x="0" y="1"/>
                    </a:cubicBezTo>
                    <a:cubicBezTo>
                      <a:pt x="5" y="24"/>
                      <a:pt x="22" y="9"/>
                      <a:pt x="33" y="1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8">
                <a:extLst>
                  <a:ext uri="{FF2B5EF4-FFF2-40B4-BE49-F238E27FC236}">
                    <a16:creationId xmlns:a16="http://schemas.microsoft.com/office/drawing/2014/main" id="{EBBA4E57-785A-26C1-AFE9-355B52908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209" y="1700076"/>
                <a:ext cx="180573" cy="102415"/>
              </a:xfrm>
              <a:custGeom>
                <a:avLst/>
                <a:gdLst>
                  <a:gd name="T0" fmla="*/ 27 w 76"/>
                  <a:gd name="T1" fmla="*/ 8 h 43"/>
                  <a:gd name="T2" fmla="*/ 25 w 76"/>
                  <a:gd name="T3" fmla="*/ 21 h 43"/>
                  <a:gd name="T4" fmla="*/ 13 w 76"/>
                  <a:gd name="T5" fmla="*/ 7 h 43"/>
                  <a:gd name="T6" fmla="*/ 4 w 76"/>
                  <a:gd name="T7" fmla="*/ 4 h 43"/>
                  <a:gd name="T8" fmla="*/ 5 w 76"/>
                  <a:gd name="T9" fmla="*/ 15 h 43"/>
                  <a:gd name="T10" fmla="*/ 34 w 76"/>
                  <a:gd name="T11" fmla="*/ 26 h 43"/>
                  <a:gd name="T12" fmla="*/ 44 w 76"/>
                  <a:gd name="T13" fmla="*/ 28 h 43"/>
                  <a:gd name="T14" fmla="*/ 66 w 76"/>
                  <a:gd name="T15" fmla="*/ 37 h 43"/>
                  <a:gd name="T16" fmla="*/ 70 w 76"/>
                  <a:gd name="T17" fmla="*/ 16 h 43"/>
                  <a:gd name="T18" fmla="*/ 61 w 76"/>
                  <a:gd name="T19" fmla="*/ 7 h 43"/>
                  <a:gd name="T20" fmla="*/ 37 w 76"/>
                  <a:gd name="T21" fmla="*/ 0 h 43"/>
                  <a:gd name="T22" fmla="*/ 27 w 76"/>
                  <a:gd name="T23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43">
                    <a:moveTo>
                      <a:pt x="27" y="8"/>
                    </a:moveTo>
                    <a:cubicBezTo>
                      <a:pt x="26" y="12"/>
                      <a:pt x="26" y="15"/>
                      <a:pt x="25" y="21"/>
                    </a:cubicBezTo>
                    <a:cubicBezTo>
                      <a:pt x="20" y="15"/>
                      <a:pt x="16" y="11"/>
                      <a:pt x="13" y="7"/>
                    </a:cubicBezTo>
                    <a:cubicBezTo>
                      <a:pt x="10" y="4"/>
                      <a:pt x="6" y="2"/>
                      <a:pt x="4" y="4"/>
                    </a:cubicBezTo>
                    <a:cubicBezTo>
                      <a:pt x="0" y="7"/>
                      <a:pt x="2" y="12"/>
                      <a:pt x="5" y="15"/>
                    </a:cubicBezTo>
                    <a:cubicBezTo>
                      <a:pt x="13" y="23"/>
                      <a:pt x="21" y="31"/>
                      <a:pt x="34" y="26"/>
                    </a:cubicBezTo>
                    <a:cubicBezTo>
                      <a:pt x="37" y="25"/>
                      <a:pt x="42" y="23"/>
                      <a:pt x="44" y="28"/>
                    </a:cubicBezTo>
                    <a:cubicBezTo>
                      <a:pt x="48" y="41"/>
                      <a:pt x="53" y="43"/>
                      <a:pt x="66" y="37"/>
                    </a:cubicBezTo>
                    <a:cubicBezTo>
                      <a:pt x="76" y="32"/>
                      <a:pt x="67" y="23"/>
                      <a:pt x="70" y="16"/>
                    </a:cubicBezTo>
                    <a:cubicBezTo>
                      <a:pt x="70" y="14"/>
                      <a:pt x="68" y="6"/>
                      <a:pt x="61" y="7"/>
                    </a:cubicBezTo>
                    <a:cubicBezTo>
                      <a:pt x="53" y="8"/>
                      <a:pt x="46" y="5"/>
                      <a:pt x="37" y="0"/>
                    </a:cubicBezTo>
                    <a:cubicBezTo>
                      <a:pt x="43" y="21"/>
                      <a:pt x="34" y="12"/>
                      <a:pt x="27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id="{11B96698-6F3A-537F-F540-EFEB8A8453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0565" y="22674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id="{D2902605-E746-F763-67F5-D5D658CD6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5859" y="2628546"/>
                <a:ext cx="70073" cy="242562"/>
              </a:xfrm>
              <a:custGeom>
                <a:avLst/>
                <a:gdLst>
                  <a:gd name="T0" fmla="*/ 1 w 29"/>
                  <a:gd name="T1" fmla="*/ 15 h 102"/>
                  <a:gd name="T2" fmla="*/ 1 w 29"/>
                  <a:gd name="T3" fmla="*/ 91 h 102"/>
                  <a:gd name="T4" fmla="*/ 8 w 29"/>
                  <a:gd name="T5" fmla="*/ 96 h 102"/>
                  <a:gd name="T6" fmla="*/ 17 w 29"/>
                  <a:gd name="T7" fmla="*/ 102 h 102"/>
                  <a:gd name="T8" fmla="*/ 11 w 29"/>
                  <a:gd name="T9" fmla="*/ 90 h 102"/>
                  <a:gd name="T10" fmla="*/ 18 w 29"/>
                  <a:gd name="T11" fmla="*/ 63 h 102"/>
                  <a:gd name="T12" fmla="*/ 23 w 29"/>
                  <a:gd name="T13" fmla="*/ 55 h 102"/>
                  <a:gd name="T14" fmla="*/ 15 w 29"/>
                  <a:gd name="T15" fmla="*/ 11 h 102"/>
                  <a:gd name="T16" fmla="*/ 8 w 29"/>
                  <a:gd name="T17" fmla="*/ 0 h 102"/>
                  <a:gd name="T18" fmla="*/ 1 w 29"/>
                  <a:gd name="T19" fmla="*/ 10 h 102"/>
                  <a:gd name="T20" fmla="*/ 1 w 29"/>
                  <a:gd name="T21" fmla="*/ 1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102">
                    <a:moveTo>
                      <a:pt x="1" y="15"/>
                    </a:moveTo>
                    <a:cubicBezTo>
                      <a:pt x="6" y="40"/>
                      <a:pt x="4" y="66"/>
                      <a:pt x="1" y="91"/>
                    </a:cubicBezTo>
                    <a:cubicBezTo>
                      <a:pt x="1" y="95"/>
                      <a:pt x="0" y="100"/>
                      <a:pt x="8" y="96"/>
                    </a:cubicBezTo>
                    <a:cubicBezTo>
                      <a:pt x="12" y="94"/>
                      <a:pt x="12" y="102"/>
                      <a:pt x="17" y="102"/>
                    </a:cubicBezTo>
                    <a:cubicBezTo>
                      <a:pt x="18" y="96"/>
                      <a:pt x="14" y="94"/>
                      <a:pt x="11" y="90"/>
                    </a:cubicBezTo>
                    <a:cubicBezTo>
                      <a:pt x="4" y="81"/>
                      <a:pt x="9" y="61"/>
                      <a:pt x="18" y="63"/>
                    </a:cubicBezTo>
                    <a:cubicBezTo>
                      <a:pt x="29" y="64"/>
                      <a:pt x="24" y="60"/>
                      <a:pt x="23" y="55"/>
                    </a:cubicBezTo>
                    <a:cubicBezTo>
                      <a:pt x="21" y="40"/>
                      <a:pt x="10" y="28"/>
                      <a:pt x="15" y="11"/>
                    </a:cubicBezTo>
                    <a:cubicBezTo>
                      <a:pt x="16" y="8"/>
                      <a:pt x="13" y="0"/>
                      <a:pt x="8" y="0"/>
                    </a:cubicBezTo>
                    <a:cubicBezTo>
                      <a:pt x="5" y="0"/>
                      <a:pt x="1" y="5"/>
                      <a:pt x="1" y="10"/>
                    </a:cubicBezTo>
                    <a:cubicBezTo>
                      <a:pt x="1" y="12"/>
                      <a:pt x="1" y="13"/>
                      <a:pt x="1" y="1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id="{41DEA32D-1AB8-1CAB-27C1-E4E87B898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31842" y="4988131"/>
                <a:ext cx="114544" cy="130714"/>
              </a:xfrm>
              <a:custGeom>
                <a:avLst/>
                <a:gdLst>
                  <a:gd name="T0" fmla="*/ 22 w 48"/>
                  <a:gd name="T1" fmla="*/ 4 h 55"/>
                  <a:gd name="T2" fmla="*/ 12 w 48"/>
                  <a:gd name="T3" fmla="*/ 4 h 55"/>
                  <a:gd name="T4" fmla="*/ 2 w 48"/>
                  <a:gd name="T5" fmla="*/ 27 h 55"/>
                  <a:gd name="T6" fmla="*/ 12 w 48"/>
                  <a:gd name="T7" fmla="*/ 37 h 55"/>
                  <a:gd name="T8" fmla="*/ 14 w 48"/>
                  <a:gd name="T9" fmla="*/ 46 h 55"/>
                  <a:gd name="T10" fmla="*/ 14 w 48"/>
                  <a:gd name="T11" fmla="*/ 54 h 55"/>
                  <a:gd name="T12" fmla="*/ 24 w 48"/>
                  <a:gd name="T13" fmla="*/ 52 h 55"/>
                  <a:gd name="T14" fmla="*/ 47 w 48"/>
                  <a:gd name="T15" fmla="*/ 17 h 55"/>
                  <a:gd name="T16" fmla="*/ 47 w 48"/>
                  <a:gd name="T17" fmla="*/ 9 h 55"/>
                  <a:gd name="T18" fmla="*/ 22 w 48"/>
                  <a:gd name="T19" fmla="*/ 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55">
                    <a:moveTo>
                      <a:pt x="22" y="4"/>
                    </a:moveTo>
                    <a:cubicBezTo>
                      <a:pt x="21" y="0"/>
                      <a:pt x="12" y="3"/>
                      <a:pt x="12" y="4"/>
                    </a:cubicBezTo>
                    <a:cubicBezTo>
                      <a:pt x="12" y="13"/>
                      <a:pt x="5" y="19"/>
                      <a:pt x="2" y="27"/>
                    </a:cubicBezTo>
                    <a:cubicBezTo>
                      <a:pt x="0" y="34"/>
                      <a:pt x="10" y="32"/>
                      <a:pt x="12" y="37"/>
                    </a:cubicBezTo>
                    <a:cubicBezTo>
                      <a:pt x="13" y="40"/>
                      <a:pt x="15" y="43"/>
                      <a:pt x="14" y="46"/>
                    </a:cubicBezTo>
                    <a:cubicBezTo>
                      <a:pt x="14" y="49"/>
                      <a:pt x="10" y="52"/>
                      <a:pt x="14" y="54"/>
                    </a:cubicBezTo>
                    <a:cubicBezTo>
                      <a:pt x="17" y="55"/>
                      <a:pt x="22" y="55"/>
                      <a:pt x="24" y="52"/>
                    </a:cubicBezTo>
                    <a:cubicBezTo>
                      <a:pt x="30" y="39"/>
                      <a:pt x="37" y="27"/>
                      <a:pt x="47" y="17"/>
                    </a:cubicBezTo>
                    <a:cubicBezTo>
                      <a:pt x="48" y="16"/>
                      <a:pt x="47" y="13"/>
                      <a:pt x="47" y="9"/>
                    </a:cubicBezTo>
                    <a:cubicBezTo>
                      <a:pt x="36" y="14"/>
                      <a:pt x="28" y="18"/>
                      <a:pt x="22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2">
                <a:extLst>
                  <a:ext uri="{FF2B5EF4-FFF2-40B4-BE49-F238E27FC236}">
                    <a16:creationId xmlns:a16="http://schemas.microsoft.com/office/drawing/2014/main" id="{1DF33200-5FF4-76A3-34E8-8356592BB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4600" y="20531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3">
                <a:extLst>
                  <a:ext uri="{FF2B5EF4-FFF2-40B4-BE49-F238E27FC236}">
                    <a16:creationId xmlns:a16="http://schemas.microsoft.com/office/drawing/2014/main" id="{67FC7F59-6725-4E64-2AE4-6DD7D2A54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6989" y="1669081"/>
                <a:ext cx="164402" cy="83549"/>
              </a:xfrm>
              <a:custGeom>
                <a:avLst/>
                <a:gdLst>
                  <a:gd name="T0" fmla="*/ 13 w 69"/>
                  <a:gd name="T1" fmla="*/ 32 h 35"/>
                  <a:gd name="T2" fmla="*/ 21 w 69"/>
                  <a:gd name="T3" fmla="*/ 33 h 35"/>
                  <a:gd name="T4" fmla="*/ 39 w 69"/>
                  <a:gd name="T5" fmla="*/ 23 h 35"/>
                  <a:gd name="T6" fmla="*/ 48 w 69"/>
                  <a:gd name="T7" fmla="*/ 22 h 35"/>
                  <a:gd name="T8" fmla="*/ 57 w 69"/>
                  <a:gd name="T9" fmla="*/ 24 h 35"/>
                  <a:gd name="T10" fmla="*/ 68 w 69"/>
                  <a:gd name="T11" fmla="*/ 4 h 35"/>
                  <a:gd name="T12" fmla="*/ 57 w 69"/>
                  <a:gd name="T13" fmla="*/ 4 h 35"/>
                  <a:gd name="T14" fmla="*/ 45 w 69"/>
                  <a:gd name="T15" fmla="*/ 3 h 35"/>
                  <a:gd name="T16" fmla="*/ 35 w 69"/>
                  <a:gd name="T17" fmla="*/ 7 h 35"/>
                  <a:gd name="T18" fmla="*/ 11 w 69"/>
                  <a:gd name="T19" fmla="*/ 22 h 35"/>
                  <a:gd name="T20" fmla="*/ 1 w 69"/>
                  <a:gd name="T21" fmla="*/ 30 h 35"/>
                  <a:gd name="T22" fmla="*/ 13 w 69"/>
                  <a:gd name="T23" fmla="*/ 3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35">
                    <a:moveTo>
                      <a:pt x="13" y="32"/>
                    </a:moveTo>
                    <a:cubicBezTo>
                      <a:pt x="16" y="32"/>
                      <a:pt x="18" y="33"/>
                      <a:pt x="21" y="33"/>
                    </a:cubicBezTo>
                    <a:cubicBezTo>
                      <a:pt x="29" y="34"/>
                      <a:pt x="37" y="35"/>
                      <a:pt x="39" y="23"/>
                    </a:cubicBezTo>
                    <a:cubicBezTo>
                      <a:pt x="41" y="12"/>
                      <a:pt x="44" y="16"/>
                      <a:pt x="48" y="22"/>
                    </a:cubicBezTo>
                    <a:cubicBezTo>
                      <a:pt x="51" y="27"/>
                      <a:pt x="53" y="27"/>
                      <a:pt x="57" y="24"/>
                    </a:cubicBezTo>
                    <a:cubicBezTo>
                      <a:pt x="64" y="18"/>
                      <a:pt x="69" y="12"/>
                      <a:pt x="68" y="4"/>
                    </a:cubicBezTo>
                    <a:cubicBezTo>
                      <a:pt x="68" y="0"/>
                      <a:pt x="61" y="1"/>
                      <a:pt x="57" y="4"/>
                    </a:cubicBezTo>
                    <a:cubicBezTo>
                      <a:pt x="53" y="6"/>
                      <a:pt x="49" y="5"/>
                      <a:pt x="45" y="3"/>
                    </a:cubicBezTo>
                    <a:cubicBezTo>
                      <a:pt x="41" y="1"/>
                      <a:pt x="38" y="5"/>
                      <a:pt x="35" y="7"/>
                    </a:cubicBezTo>
                    <a:cubicBezTo>
                      <a:pt x="28" y="13"/>
                      <a:pt x="20" y="19"/>
                      <a:pt x="11" y="22"/>
                    </a:cubicBezTo>
                    <a:cubicBezTo>
                      <a:pt x="6" y="23"/>
                      <a:pt x="0" y="24"/>
                      <a:pt x="1" y="30"/>
                    </a:cubicBezTo>
                    <a:cubicBezTo>
                      <a:pt x="2" y="35"/>
                      <a:pt x="9" y="31"/>
                      <a:pt x="13" y="3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4">
                <a:extLst>
                  <a:ext uri="{FF2B5EF4-FFF2-40B4-BE49-F238E27FC236}">
                    <a16:creationId xmlns:a16="http://schemas.microsoft.com/office/drawing/2014/main" id="{2D501B76-03AD-1F93-6277-6B3CDAF81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953" y="1566667"/>
                <a:ext cx="161708" cy="87592"/>
              </a:xfrm>
              <a:custGeom>
                <a:avLst/>
                <a:gdLst>
                  <a:gd name="T0" fmla="*/ 4 w 68"/>
                  <a:gd name="T1" fmla="*/ 12 h 37"/>
                  <a:gd name="T2" fmla="*/ 21 w 68"/>
                  <a:gd name="T3" fmla="*/ 18 h 37"/>
                  <a:gd name="T4" fmla="*/ 10 w 68"/>
                  <a:gd name="T5" fmla="*/ 28 h 37"/>
                  <a:gd name="T6" fmla="*/ 53 w 68"/>
                  <a:gd name="T7" fmla="*/ 35 h 37"/>
                  <a:gd name="T8" fmla="*/ 64 w 68"/>
                  <a:gd name="T9" fmla="*/ 33 h 37"/>
                  <a:gd name="T10" fmla="*/ 60 w 68"/>
                  <a:gd name="T11" fmla="*/ 23 h 37"/>
                  <a:gd name="T12" fmla="*/ 5 w 68"/>
                  <a:gd name="T13" fmla="*/ 3 h 37"/>
                  <a:gd name="T14" fmla="*/ 0 w 68"/>
                  <a:gd name="T15" fmla="*/ 7 h 37"/>
                  <a:gd name="T16" fmla="*/ 4 w 68"/>
                  <a:gd name="T17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37">
                    <a:moveTo>
                      <a:pt x="4" y="12"/>
                    </a:moveTo>
                    <a:cubicBezTo>
                      <a:pt x="9" y="15"/>
                      <a:pt x="17" y="12"/>
                      <a:pt x="21" y="18"/>
                    </a:cubicBezTo>
                    <a:cubicBezTo>
                      <a:pt x="19" y="23"/>
                      <a:pt x="11" y="19"/>
                      <a:pt x="10" y="28"/>
                    </a:cubicBezTo>
                    <a:cubicBezTo>
                      <a:pt x="26" y="22"/>
                      <a:pt x="40" y="27"/>
                      <a:pt x="53" y="35"/>
                    </a:cubicBezTo>
                    <a:cubicBezTo>
                      <a:pt x="56" y="37"/>
                      <a:pt x="61" y="36"/>
                      <a:pt x="64" y="33"/>
                    </a:cubicBezTo>
                    <a:cubicBezTo>
                      <a:pt x="68" y="27"/>
                      <a:pt x="62" y="25"/>
                      <a:pt x="60" y="23"/>
                    </a:cubicBezTo>
                    <a:cubicBezTo>
                      <a:pt x="44" y="11"/>
                      <a:pt x="27" y="0"/>
                      <a:pt x="5" y="3"/>
                    </a:cubicBezTo>
                    <a:cubicBezTo>
                      <a:pt x="2" y="3"/>
                      <a:pt x="0" y="4"/>
                      <a:pt x="0" y="7"/>
                    </a:cubicBezTo>
                    <a:cubicBezTo>
                      <a:pt x="0" y="9"/>
                      <a:pt x="2" y="11"/>
                      <a:pt x="4" y="1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5">
                <a:extLst>
                  <a:ext uri="{FF2B5EF4-FFF2-40B4-BE49-F238E27FC236}">
                    <a16:creationId xmlns:a16="http://schemas.microsoft.com/office/drawing/2014/main" id="{7E725DD5-6D30-59DB-B29E-5E593D503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9375" y="4186332"/>
                <a:ext cx="227738" cy="86244"/>
              </a:xfrm>
              <a:custGeom>
                <a:avLst/>
                <a:gdLst>
                  <a:gd name="T0" fmla="*/ 96 w 96"/>
                  <a:gd name="T1" fmla="*/ 33 h 36"/>
                  <a:gd name="T2" fmla="*/ 74 w 96"/>
                  <a:gd name="T3" fmla="*/ 24 h 36"/>
                  <a:gd name="T4" fmla="*/ 53 w 96"/>
                  <a:gd name="T5" fmla="*/ 15 h 36"/>
                  <a:gd name="T6" fmla="*/ 30 w 96"/>
                  <a:gd name="T7" fmla="*/ 11 h 36"/>
                  <a:gd name="T8" fmla="*/ 0 w 96"/>
                  <a:gd name="T9" fmla="*/ 14 h 36"/>
                  <a:gd name="T10" fmla="*/ 35 w 96"/>
                  <a:gd name="T11" fmla="*/ 21 h 36"/>
                  <a:gd name="T12" fmla="*/ 41 w 96"/>
                  <a:gd name="T13" fmla="*/ 24 h 36"/>
                  <a:gd name="T14" fmla="*/ 96 w 96"/>
                  <a:gd name="T15" fmla="*/ 3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36">
                    <a:moveTo>
                      <a:pt x="96" y="33"/>
                    </a:moveTo>
                    <a:cubicBezTo>
                      <a:pt x="88" y="24"/>
                      <a:pt x="76" y="30"/>
                      <a:pt x="74" y="24"/>
                    </a:cubicBezTo>
                    <a:cubicBezTo>
                      <a:pt x="69" y="13"/>
                      <a:pt x="61" y="16"/>
                      <a:pt x="53" y="15"/>
                    </a:cubicBezTo>
                    <a:cubicBezTo>
                      <a:pt x="45" y="14"/>
                      <a:pt x="38" y="14"/>
                      <a:pt x="30" y="11"/>
                    </a:cubicBezTo>
                    <a:cubicBezTo>
                      <a:pt x="21" y="7"/>
                      <a:pt x="9" y="0"/>
                      <a:pt x="0" y="14"/>
                    </a:cubicBezTo>
                    <a:cubicBezTo>
                      <a:pt x="11" y="19"/>
                      <a:pt x="21" y="26"/>
                      <a:pt x="35" y="21"/>
                    </a:cubicBezTo>
                    <a:cubicBezTo>
                      <a:pt x="36" y="21"/>
                      <a:pt x="39" y="23"/>
                      <a:pt x="41" y="24"/>
                    </a:cubicBezTo>
                    <a:cubicBezTo>
                      <a:pt x="57" y="36"/>
                      <a:pt x="76" y="33"/>
                      <a:pt x="96" y="3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6">
                <a:extLst>
                  <a:ext uri="{FF2B5EF4-FFF2-40B4-BE49-F238E27FC236}">
                    <a16:creationId xmlns:a16="http://schemas.microsoft.com/office/drawing/2014/main" id="{6C732BF9-A8F8-41AB-A714-BB91BAA02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0575" y="1570710"/>
                <a:ext cx="142841" cy="83549"/>
              </a:xfrm>
              <a:custGeom>
                <a:avLst/>
                <a:gdLst>
                  <a:gd name="T0" fmla="*/ 52 w 60"/>
                  <a:gd name="T1" fmla="*/ 24 h 35"/>
                  <a:gd name="T2" fmla="*/ 56 w 60"/>
                  <a:gd name="T3" fmla="*/ 14 h 35"/>
                  <a:gd name="T4" fmla="*/ 6 w 60"/>
                  <a:gd name="T5" fmla="*/ 18 h 35"/>
                  <a:gd name="T6" fmla="*/ 0 w 60"/>
                  <a:gd name="T7" fmla="*/ 30 h 35"/>
                  <a:gd name="T8" fmla="*/ 52 w 60"/>
                  <a:gd name="T9" fmla="*/ 2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35">
                    <a:moveTo>
                      <a:pt x="52" y="24"/>
                    </a:moveTo>
                    <a:cubicBezTo>
                      <a:pt x="57" y="23"/>
                      <a:pt x="60" y="19"/>
                      <a:pt x="56" y="14"/>
                    </a:cubicBezTo>
                    <a:cubicBezTo>
                      <a:pt x="43" y="0"/>
                      <a:pt x="16" y="3"/>
                      <a:pt x="6" y="18"/>
                    </a:cubicBezTo>
                    <a:cubicBezTo>
                      <a:pt x="4" y="22"/>
                      <a:pt x="2" y="25"/>
                      <a:pt x="0" y="30"/>
                    </a:cubicBezTo>
                    <a:cubicBezTo>
                      <a:pt x="19" y="35"/>
                      <a:pt x="35" y="27"/>
                      <a:pt x="52" y="2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7">
                <a:extLst>
                  <a:ext uri="{FF2B5EF4-FFF2-40B4-BE49-F238E27FC236}">
                    <a16:creationId xmlns:a16="http://schemas.microsoft.com/office/drawing/2014/main" id="{F3174117-7A8E-8967-4C65-4CCDA9DD3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31389" y="2888627"/>
                <a:ext cx="145537" cy="114543"/>
              </a:xfrm>
              <a:custGeom>
                <a:avLst/>
                <a:gdLst>
                  <a:gd name="T0" fmla="*/ 19 w 61"/>
                  <a:gd name="T1" fmla="*/ 8 h 48"/>
                  <a:gd name="T2" fmla="*/ 8 w 61"/>
                  <a:gd name="T3" fmla="*/ 29 h 48"/>
                  <a:gd name="T4" fmla="*/ 6 w 61"/>
                  <a:gd name="T5" fmla="*/ 48 h 48"/>
                  <a:gd name="T6" fmla="*/ 21 w 61"/>
                  <a:gd name="T7" fmla="*/ 37 h 48"/>
                  <a:gd name="T8" fmla="*/ 29 w 61"/>
                  <a:gd name="T9" fmla="*/ 41 h 48"/>
                  <a:gd name="T10" fmla="*/ 57 w 61"/>
                  <a:gd name="T11" fmla="*/ 25 h 48"/>
                  <a:gd name="T12" fmla="*/ 55 w 61"/>
                  <a:gd name="T13" fmla="*/ 17 h 48"/>
                  <a:gd name="T14" fmla="*/ 26 w 61"/>
                  <a:gd name="T15" fmla="*/ 4 h 48"/>
                  <a:gd name="T16" fmla="*/ 21 w 61"/>
                  <a:gd name="T17" fmla="*/ 2 h 48"/>
                  <a:gd name="T18" fmla="*/ 19 w 61"/>
                  <a:gd name="T19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8">
                    <a:moveTo>
                      <a:pt x="19" y="8"/>
                    </a:moveTo>
                    <a:cubicBezTo>
                      <a:pt x="18" y="16"/>
                      <a:pt x="17" y="24"/>
                      <a:pt x="8" y="29"/>
                    </a:cubicBezTo>
                    <a:cubicBezTo>
                      <a:pt x="1" y="33"/>
                      <a:pt x="0" y="40"/>
                      <a:pt x="6" y="48"/>
                    </a:cubicBezTo>
                    <a:cubicBezTo>
                      <a:pt x="4" y="33"/>
                      <a:pt x="14" y="38"/>
                      <a:pt x="21" y="37"/>
                    </a:cubicBezTo>
                    <a:cubicBezTo>
                      <a:pt x="25" y="37"/>
                      <a:pt x="28" y="41"/>
                      <a:pt x="29" y="41"/>
                    </a:cubicBezTo>
                    <a:cubicBezTo>
                      <a:pt x="36" y="32"/>
                      <a:pt x="49" y="33"/>
                      <a:pt x="57" y="25"/>
                    </a:cubicBezTo>
                    <a:cubicBezTo>
                      <a:pt x="61" y="20"/>
                      <a:pt x="57" y="17"/>
                      <a:pt x="55" y="17"/>
                    </a:cubicBezTo>
                    <a:cubicBezTo>
                      <a:pt x="40" y="24"/>
                      <a:pt x="34" y="11"/>
                      <a:pt x="26" y="4"/>
                    </a:cubicBezTo>
                    <a:cubicBezTo>
                      <a:pt x="25" y="3"/>
                      <a:pt x="24" y="0"/>
                      <a:pt x="21" y="2"/>
                    </a:cubicBezTo>
                    <a:cubicBezTo>
                      <a:pt x="19" y="3"/>
                      <a:pt x="19" y="5"/>
                      <a:pt x="19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8">
                <a:extLst>
                  <a:ext uri="{FF2B5EF4-FFF2-40B4-BE49-F238E27FC236}">
                    <a16:creationId xmlns:a16="http://schemas.microsoft.com/office/drawing/2014/main" id="{F62CBBF9-94AD-FB75-371C-FE4E11554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3924" y="4062355"/>
                <a:ext cx="109154" cy="111847"/>
              </a:xfrm>
              <a:custGeom>
                <a:avLst/>
                <a:gdLst>
                  <a:gd name="T0" fmla="*/ 7 w 46"/>
                  <a:gd name="T1" fmla="*/ 17 h 47"/>
                  <a:gd name="T2" fmla="*/ 8 w 46"/>
                  <a:gd name="T3" fmla="*/ 36 h 47"/>
                  <a:gd name="T4" fmla="*/ 20 w 46"/>
                  <a:gd name="T5" fmla="*/ 29 h 47"/>
                  <a:gd name="T6" fmla="*/ 27 w 46"/>
                  <a:gd name="T7" fmla="*/ 40 h 47"/>
                  <a:gd name="T8" fmla="*/ 34 w 46"/>
                  <a:gd name="T9" fmla="*/ 45 h 47"/>
                  <a:gd name="T10" fmla="*/ 38 w 46"/>
                  <a:gd name="T11" fmla="*/ 37 h 47"/>
                  <a:gd name="T12" fmla="*/ 36 w 46"/>
                  <a:gd name="T13" fmla="*/ 25 h 47"/>
                  <a:gd name="T14" fmla="*/ 39 w 46"/>
                  <a:gd name="T15" fmla="*/ 14 h 47"/>
                  <a:gd name="T16" fmla="*/ 46 w 46"/>
                  <a:gd name="T17" fmla="*/ 8 h 47"/>
                  <a:gd name="T18" fmla="*/ 14 w 46"/>
                  <a:gd name="T19" fmla="*/ 5 h 47"/>
                  <a:gd name="T20" fmla="*/ 7 w 46"/>
                  <a:gd name="T2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47">
                    <a:moveTo>
                      <a:pt x="7" y="17"/>
                    </a:moveTo>
                    <a:cubicBezTo>
                      <a:pt x="2" y="24"/>
                      <a:pt x="0" y="30"/>
                      <a:pt x="8" y="36"/>
                    </a:cubicBezTo>
                    <a:cubicBezTo>
                      <a:pt x="17" y="43"/>
                      <a:pt x="14" y="28"/>
                      <a:pt x="20" y="29"/>
                    </a:cubicBezTo>
                    <a:cubicBezTo>
                      <a:pt x="25" y="31"/>
                      <a:pt x="24" y="36"/>
                      <a:pt x="27" y="40"/>
                    </a:cubicBezTo>
                    <a:cubicBezTo>
                      <a:pt x="29" y="42"/>
                      <a:pt x="30" y="47"/>
                      <a:pt x="34" y="45"/>
                    </a:cubicBezTo>
                    <a:cubicBezTo>
                      <a:pt x="38" y="44"/>
                      <a:pt x="41" y="40"/>
                      <a:pt x="38" y="37"/>
                    </a:cubicBezTo>
                    <a:cubicBezTo>
                      <a:pt x="36" y="33"/>
                      <a:pt x="41" y="29"/>
                      <a:pt x="36" y="25"/>
                    </a:cubicBezTo>
                    <a:cubicBezTo>
                      <a:pt x="29" y="20"/>
                      <a:pt x="35" y="16"/>
                      <a:pt x="39" y="14"/>
                    </a:cubicBezTo>
                    <a:cubicBezTo>
                      <a:pt x="41" y="12"/>
                      <a:pt x="46" y="13"/>
                      <a:pt x="46" y="8"/>
                    </a:cubicBezTo>
                    <a:cubicBezTo>
                      <a:pt x="36" y="0"/>
                      <a:pt x="22" y="25"/>
                      <a:pt x="14" y="5"/>
                    </a:cubicBezTo>
                    <a:cubicBezTo>
                      <a:pt x="6" y="6"/>
                      <a:pt x="11" y="14"/>
                      <a:pt x="7" y="1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9">
                <a:extLst>
                  <a:ext uri="{FF2B5EF4-FFF2-40B4-BE49-F238E27FC236}">
                    <a16:creationId xmlns:a16="http://schemas.microsoft.com/office/drawing/2014/main" id="{877ACF9A-D469-6250-1238-45826F2B6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6242" y="3484250"/>
                <a:ext cx="207525" cy="88939"/>
              </a:xfrm>
              <a:custGeom>
                <a:avLst/>
                <a:gdLst>
                  <a:gd name="T0" fmla="*/ 22 w 87"/>
                  <a:gd name="T1" fmla="*/ 4 h 37"/>
                  <a:gd name="T2" fmla="*/ 0 w 87"/>
                  <a:gd name="T3" fmla="*/ 9 h 37"/>
                  <a:gd name="T4" fmla="*/ 7 w 87"/>
                  <a:gd name="T5" fmla="*/ 7 h 37"/>
                  <a:gd name="T6" fmla="*/ 52 w 87"/>
                  <a:gd name="T7" fmla="*/ 29 h 37"/>
                  <a:gd name="T8" fmla="*/ 77 w 87"/>
                  <a:gd name="T9" fmla="*/ 36 h 37"/>
                  <a:gd name="T10" fmla="*/ 85 w 87"/>
                  <a:gd name="T11" fmla="*/ 33 h 37"/>
                  <a:gd name="T12" fmla="*/ 79 w 87"/>
                  <a:gd name="T13" fmla="*/ 26 h 37"/>
                  <a:gd name="T14" fmla="*/ 22 w 87"/>
                  <a:gd name="T15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7" h="37">
                    <a:moveTo>
                      <a:pt x="22" y="4"/>
                    </a:moveTo>
                    <a:cubicBezTo>
                      <a:pt x="15" y="1"/>
                      <a:pt x="6" y="0"/>
                      <a:pt x="0" y="9"/>
                    </a:cubicBezTo>
                    <a:cubicBezTo>
                      <a:pt x="2" y="7"/>
                      <a:pt x="5" y="5"/>
                      <a:pt x="7" y="7"/>
                    </a:cubicBezTo>
                    <a:cubicBezTo>
                      <a:pt x="21" y="17"/>
                      <a:pt x="40" y="16"/>
                      <a:pt x="52" y="29"/>
                    </a:cubicBezTo>
                    <a:cubicBezTo>
                      <a:pt x="59" y="37"/>
                      <a:pt x="68" y="36"/>
                      <a:pt x="77" y="36"/>
                    </a:cubicBezTo>
                    <a:cubicBezTo>
                      <a:pt x="80" y="36"/>
                      <a:pt x="84" y="37"/>
                      <a:pt x="85" y="33"/>
                    </a:cubicBezTo>
                    <a:cubicBezTo>
                      <a:pt x="87" y="28"/>
                      <a:pt x="82" y="28"/>
                      <a:pt x="79" y="26"/>
                    </a:cubicBezTo>
                    <a:cubicBezTo>
                      <a:pt x="60" y="19"/>
                      <a:pt x="41" y="10"/>
                      <a:pt x="22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40">
                <a:extLst>
                  <a:ext uri="{FF2B5EF4-FFF2-40B4-BE49-F238E27FC236}">
                    <a16:creationId xmlns:a16="http://schemas.microsoft.com/office/drawing/2014/main" id="{502BD47F-B643-093A-FB56-68CF8A73F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4778" y="3823835"/>
                <a:ext cx="130714" cy="97025"/>
              </a:xfrm>
              <a:custGeom>
                <a:avLst/>
                <a:gdLst>
                  <a:gd name="T0" fmla="*/ 46 w 55"/>
                  <a:gd name="T1" fmla="*/ 10 h 41"/>
                  <a:gd name="T2" fmla="*/ 34 w 55"/>
                  <a:gd name="T3" fmla="*/ 6 h 41"/>
                  <a:gd name="T4" fmla="*/ 22 w 55"/>
                  <a:gd name="T5" fmla="*/ 14 h 41"/>
                  <a:gd name="T6" fmla="*/ 0 w 55"/>
                  <a:gd name="T7" fmla="*/ 27 h 41"/>
                  <a:gd name="T8" fmla="*/ 24 w 55"/>
                  <a:gd name="T9" fmla="*/ 36 h 41"/>
                  <a:gd name="T10" fmla="*/ 34 w 55"/>
                  <a:gd name="T11" fmla="*/ 41 h 41"/>
                  <a:gd name="T12" fmla="*/ 36 w 55"/>
                  <a:gd name="T13" fmla="*/ 34 h 41"/>
                  <a:gd name="T14" fmla="*/ 38 w 55"/>
                  <a:gd name="T15" fmla="*/ 29 h 41"/>
                  <a:gd name="T16" fmla="*/ 46 w 55"/>
                  <a:gd name="T17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41">
                    <a:moveTo>
                      <a:pt x="46" y="10"/>
                    </a:moveTo>
                    <a:cubicBezTo>
                      <a:pt x="45" y="0"/>
                      <a:pt x="40" y="2"/>
                      <a:pt x="34" y="6"/>
                    </a:cubicBezTo>
                    <a:cubicBezTo>
                      <a:pt x="30" y="9"/>
                      <a:pt x="28" y="17"/>
                      <a:pt x="22" y="14"/>
                    </a:cubicBezTo>
                    <a:cubicBezTo>
                      <a:pt x="10" y="9"/>
                      <a:pt x="7" y="18"/>
                      <a:pt x="0" y="27"/>
                    </a:cubicBezTo>
                    <a:cubicBezTo>
                      <a:pt x="14" y="22"/>
                      <a:pt x="23" y="20"/>
                      <a:pt x="24" y="36"/>
                    </a:cubicBezTo>
                    <a:cubicBezTo>
                      <a:pt x="24" y="41"/>
                      <a:pt x="30" y="41"/>
                      <a:pt x="34" y="41"/>
                    </a:cubicBezTo>
                    <a:cubicBezTo>
                      <a:pt x="41" y="40"/>
                      <a:pt x="36" y="37"/>
                      <a:pt x="36" y="34"/>
                    </a:cubicBezTo>
                    <a:cubicBezTo>
                      <a:pt x="35" y="32"/>
                      <a:pt x="36" y="30"/>
                      <a:pt x="38" y="29"/>
                    </a:cubicBezTo>
                    <a:cubicBezTo>
                      <a:pt x="55" y="28"/>
                      <a:pt x="46" y="17"/>
                      <a:pt x="46" y="1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41">
                <a:extLst>
                  <a:ext uri="{FF2B5EF4-FFF2-40B4-BE49-F238E27FC236}">
                    <a16:creationId xmlns:a16="http://schemas.microsoft.com/office/drawing/2014/main" id="{EBA0AA01-472A-5B34-F826-4CE0CCFB2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43236" y="5087852"/>
                <a:ext cx="80854" cy="98372"/>
              </a:xfrm>
              <a:custGeom>
                <a:avLst/>
                <a:gdLst>
                  <a:gd name="T0" fmla="*/ 22 w 34"/>
                  <a:gd name="T1" fmla="*/ 6 h 41"/>
                  <a:gd name="T2" fmla="*/ 0 w 34"/>
                  <a:gd name="T3" fmla="*/ 5 h 41"/>
                  <a:gd name="T4" fmla="*/ 4 w 34"/>
                  <a:gd name="T5" fmla="*/ 27 h 41"/>
                  <a:gd name="T6" fmla="*/ 18 w 34"/>
                  <a:gd name="T7" fmla="*/ 38 h 41"/>
                  <a:gd name="T8" fmla="*/ 34 w 34"/>
                  <a:gd name="T9" fmla="*/ 14 h 41"/>
                  <a:gd name="T10" fmla="*/ 22 w 34"/>
                  <a:gd name="T11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41">
                    <a:moveTo>
                      <a:pt x="22" y="6"/>
                    </a:moveTo>
                    <a:cubicBezTo>
                      <a:pt x="14" y="12"/>
                      <a:pt x="8" y="8"/>
                      <a:pt x="0" y="5"/>
                    </a:cubicBezTo>
                    <a:cubicBezTo>
                      <a:pt x="1" y="14"/>
                      <a:pt x="3" y="20"/>
                      <a:pt x="4" y="27"/>
                    </a:cubicBezTo>
                    <a:cubicBezTo>
                      <a:pt x="4" y="34"/>
                      <a:pt x="12" y="41"/>
                      <a:pt x="18" y="38"/>
                    </a:cubicBezTo>
                    <a:cubicBezTo>
                      <a:pt x="26" y="33"/>
                      <a:pt x="34" y="25"/>
                      <a:pt x="34" y="14"/>
                    </a:cubicBezTo>
                    <a:cubicBezTo>
                      <a:pt x="34" y="6"/>
                      <a:pt x="29" y="0"/>
                      <a:pt x="22" y="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42">
                <a:extLst>
                  <a:ext uri="{FF2B5EF4-FFF2-40B4-BE49-F238E27FC236}">
                    <a16:creationId xmlns:a16="http://schemas.microsoft.com/office/drawing/2014/main" id="{7FABD90C-62D0-0971-ED5B-121C505E1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8181" y="3610921"/>
                <a:ext cx="74116" cy="119933"/>
              </a:xfrm>
              <a:custGeom>
                <a:avLst/>
                <a:gdLst>
                  <a:gd name="T0" fmla="*/ 7 w 31"/>
                  <a:gd name="T1" fmla="*/ 25 h 50"/>
                  <a:gd name="T2" fmla="*/ 12 w 31"/>
                  <a:gd name="T3" fmla="*/ 44 h 50"/>
                  <a:gd name="T4" fmla="*/ 23 w 31"/>
                  <a:gd name="T5" fmla="*/ 46 h 50"/>
                  <a:gd name="T6" fmla="*/ 29 w 31"/>
                  <a:gd name="T7" fmla="*/ 17 h 50"/>
                  <a:gd name="T8" fmla="*/ 19 w 31"/>
                  <a:gd name="T9" fmla="*/ 1 h 50"/>
                  <a:gd name="T10" fmla="*/ 11 w 31"/>
                  <a:gd name="T11" fmla="*/ 13 h 50"/>
                  <a:gd name="T12" fmla="*/ 7 w 31"/>
                  <a:gd name="T13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0">
                    <a:moveTo>
                      <a:pt x="7" y="25"/>
                    </a:moveTo>
                    <a:cubicBezTo>
                      <a:pt x="0" y="33"/>
                      <a:pt x="12" y="37"/>
                      <a:pt x="12" y="44"/>
                    </a:cubicBezTo>
                    <a:cubicBezTo>
                      <a:pt x="12" y="50"/>
                      <a:pt x="19" y="45"/>
                      <a:pt x="23" y="46"/>
                    </a:cubicBezTo>
                    <a:cubicBezTo>
                      <a:pt x="22" y="36"/>
                      <a:pt x="25" y="27"/>
                      <a:pt x="29" y="17"/>
                    </a:cubicBezTo>
                    <a:cubicBezTo>
                      <a:pt x="31" y="10"/>
                      <a:pt x="29" y="2"/>
                      <a:pt x="19" y="1"/>
                    </a:cubicBezTo>
                    <a:cubicBezTo>
                      <a:pt x="8" y="0"/>
                      <a:pt x="11" y="8"/>
                      <a:pt x="11" y="13"/>
                    </a:cubicBezTo>
                    <a:cubicBezTo>
                      <a:pt x="11" y="17"/>
                      <a:pt x="11" y="21"/>
                      <a:pt x="7" y="2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43">
                <a:extLst>
                  <a:ext uri="{FF2B5EF4-FFF2-40B4-BE49-F238E27FC236}">
                    <a16:creationId xmlns:a16="http://schemas.microsoft.com/office/drawing/2014/main" id="{E56769B8-A570-7329-2C9F-62532426F7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0504" y="3563757"/>
                <a:ext cx="136104" cy="61987"/>
              </a:xfrm>
              <a:custGeom>
                <a:avLst/>
                <a:gdLst>
                  <a:gd name="T0" fmla="*/ 57 w 57"/>
                  <a:gd name="T1" fmla="*/ 16 h 26"/>
                  <a:gd name="T2" fmla="*/ 25 w 57"/>
                  <a:gd name="T3" fmla="*/ 5 h 26"/>
                  <a:gd name="T4" fmla="*/ 15 w 57"/>
                  <a:gd name="T5" fmla="*/ 17 h 26"/>
                  <a:gd name="T6" fmla="*/ 0 w 57"/>
                  <a:gd name="T7" fmla="*/ 18 h 26"/>
                  <a:gd name="T8" fmla="*/ 57 w 57"/>
                  <a:gd name="T9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26">
                    <a:moveTo>
                      <a:pt x="57" y="16"/>
                    </a:moveTo>
                    <a:cubicBezTo>
                      <a:pt x="47" y="6"/>
                      <a:pt x="35" y="8"/>
                      <a:pt x="25" y="5"/>
                    </a:cubicBezTo>
                    <a:cubicBezTo>
                      <a:pt x="9" y="0"/>
                      <a:pt x="8" y="4"/>
                      <a:pt x="15" y="17"/>
                    </a:cubicBezTo>
                    <a:cubicBezTo>
                      <a:pt x="9" y="18"/>
                      <a:pt x="5" y="18"/>
                      <a:pt x="0" y="18"/>
                    </a:cubicBezTo>
                    <a:cubicBezTo>
                      <a:pt x="20" y="26"/>
                      <a:pt x="38" y="22"/>
                      <a:pt x="57" y="1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44">
                <a:extLst>
                  <a:ext uri="{FF2B5EF4-FFF2-40B4-BE49-F238E27FC236}">
                    <a16:creationId xmlns:a16="http://schemas.microsoft.com/office/drawing/2014/main" id="{DC5A993F-F08A-5800-60FE-96770A54A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098" y="3827880"/>
                <a:ext cx="56597" cy="92982"/>
              </a:xfrm>
              <a:custGeom>
                <a:avLst/>
                <a:gdLst>
                  <a:gd name="T0" fmla="*/ 8 w 24"/>
                  <a:gd name="T1" fmla="*/ 0 h 39"/>
                  <a:gd name="T2" fmla="*/ 5 w 24"/>
                  <a:gd name="T3" fmla="*/ 1 h 39"/>
                  <a:gd name="T4" fmla="*/ 9 w 24"/>
                  <a:gd name="T5" fmla="*/ 37 h 39"/>
                  <a:gd name="T6" fmla="*/ 14 w 24"/>
                  <a:gd name="T7" fmla="*/ 38 h 39"/>
                  <a:gd name="T8" fmla="*/ 23 w 24"/>
                  <a:gd name="T9" fmla="*/ 22 h 39"/>
                  <a:gd name="T10" fmla="*/ 8 w 2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39">
                    <a:moveTo>
                      <a:pt x="8" y="0"/>
                    </a:moveTo>
                    <a:cubicBezTo>
                      <a:pt x="7" y="1"/>
                      <a:pt x="6" y="1"/>
                      <a:pt x="5" y="1"/>
                    </a:cubicBezTo>
                    <a:cubicBezTo>
                      <a:pt x="0" y="5"/>
                      <a:pt x="3" y="34"/>
                      <a:pt x="9" y="37"/>
                    </a:cubicBezTo>
                    <a:cubicBezTo>
                      <a:pt x="10" y="38"/>
                      <a:pt x="12" y="39"/>
                      <a:pt x="14" y="38"/>
                    </a:cubicBezTo>
                    <a:cubicBezTo>
                      <a:pt x="21" y="34"/>
                      <a:pt x="24" y="29"/>
                      <a:pt x="23" y="22"/>
                    </a:cubicBezTo>
                    <a:cubicBezTo>
                      <a:pt x="21" y="13"/>
                      <a:pt x="16" y="6"/>
                      <a:pt x="8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47DE58AF-1233-56D3-EBEC-F90C23E8D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00145" y="1873911"/>
                <a:ext cx="1348" cy="1347"/>
              </a:xfrm>
              <a:prstGeom prst="ellipse">
                <a:avLst/>
              </a:pr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46">
                <a:extLst>
                  <a:ext uri="{FF2B5EF4-FFF2-40B4-BE49-F238E27FC236}">
                    <a16:creationId xmlns:a16="http://schemas.microsoft.com/office/drawing/2014/main" id="{DC833C92-BFB9-F8F9-E1BE-ED37AB8B1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796" y="1841569"/>
                <a:ext cx="99719" cy="66030"/>
              </a:xfrm>
              <a:custGeom>
                <a:avLst/>
                <a:gdLst>
                  <a:gd name="T0" fmla="*/ 28 w 42"/>
                  <a:gd name="T1" fmla="*/ 26 h 28"/>
                  <a:gd name="T2" fmla="*/ 32 w 42"/>
                  <a:gd name="T3" fmla="*/ 20 h 28"/>
                  <a:gd name="T4" fmla="*/ 42 w 42"/>
                  <a:gd name="T5" fmla="*/ 18 h 28"/>
                  <a:gd name="T6" fmla="*/ 13 w 42"/>
                  <a:gd name="T7" fmla="*/ 6 h 28"/>
                  <a:gd name="T8" fmla="*/ 1 w 42"/>
                  <a:gd name="T9" fmla="*/ 14 h 28"/>
                  <a:gd name="T10" fmla="*/ 28 w 42"/>
                  <a:gd name="T11" fmla="*/ 2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28">
                    <a:moveTo>
                      <a:pt x="28" y="26"/>
                    </a:moveTo>
                    <a:cubicBezTo>
                      <a:pt x="25" y="21"/>
                      <a:pt x="29" y="21"/>
                      <a:pt x="32" y="20"/>
                    </a:cubicBezTo>
                    <a:cubicBezTo>
                      <a:pt x="35" y="19"/>
                      <a:pt x="41" y="23"/>
                      <a:pt x="42" y="18"/>
                    </a:cubicBezTo>
                    <a:cubicBezTo>
                      <a:pt x="36" y="4"/>
                      <a:pt x="22" y="11"/>
                      <a:pt x="13" y="6"/>
                    </a:cubicBezTo>
                    <a:cubicBezTo>
                      <a:pt x="2" y="0"/>
                      <a:pt x="0" y="4"/>
                      <a:pt x="1" y="14"/>
                    </a:cubicBezTo>
                    <a:cubicBezTo>
                      <a:pt x="9" y="20"/>
                      <a:pt x="16" y="28"/>
                      <a:pt x="28" y="2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47">
                <a:extLst>
                  <a:ext uri="{FF2B5EF4-FFF2-40B4-BE49-F238E27FC236}">
                    <a16:creationId xmlns:a16="http://schemas.microsoft.com/office/drawing/2014/main" id="{5D692338-6C43-8FE8-7CDF-FC25E3CA8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4827" y="190355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48">
                <a:extLst>
                  <a:ext uri="{FF2B5EF4-FFF2-40B4-BE49-F238E27FC236}">
                    <a16:creationId xmlns:a16="http://schemas.microsoft.com/office/drawing/2014/main" id="{E92067F6-9A4D-F521-3800-95A3E7C06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083" y="3703903"/>
                <a:ext cx="101068" cy="110500"/>
              </a:xfrm>
              <a:custGeom>
                <a:avLst/>
                <a:gdLst>
                  <a:gd name="T0" fmla="*/ 31 w 42"/>
                  <a:gd name="T1" fmla="*/ 46 h 46"/>
                  <a:gd name="T2" fmla="*/ 35 w 42"/>
                  <a:gd name="T3" fmla="*/ 26 h 46"/>
                  <a:gd name="T4" fmla="*/ 0 w 42"/>
                  <a:gd name="T5" fmla="*/ 7 h 46"/>
                  <a:gd name="T6" fmla="*/ 31 w 42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6">
                    <a:moveTo>
                      <a:pt x="31" y="46"/>
                    </a:moveTo>
                    <a:cubicBezTo>
                      <a:pt x="38" y="39"/>
                      <a:pt x="42" y="31"/>
                      <a:pt x="35" y="26"/>
                    </a:cubicBezTo>
                    <a:cubicBezTo>
                      <a:pt x="24" y="18"/>
                      <a:pt x="19" y="0"/>
                      <a:pt x="0" y="7"/>
                    </a:cubicBezTo>
                    <a:cubicBezTo>
                      <a:pt x="19" y="13"/>
                      <a:pt x="21" y="33"/>
                      <a:pt x="31" y="4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49">
                <a:extLst>
                  <a:ext uri="{FF2B5EF4-FFF2-40B4-BE49-F238E27FC236}">
                    <a16:creationId xmlns:a16="http://schemas.microsoft.com/office/drawing/2014/main" id="{AE7850BB-B8ED-B2EB-6D9D-4A04F016A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083" y="372142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50">
                <a:extLst>
                  <a:ext uri="{FF2B5EF4-FFF2-40B4-BE49-F238E27FC236}">
                    <a16:creationId xmlns:a16="http://schemas.microsoft.com/office/drawing/2014/main" id="{6443CCCA-16D7-1BBD-36F7-5E1081C44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7789" y="1597661"/>
                <a:ext cx="79507" cy="56597"/>
              </a:xfrm>
              <a:custGeom>
                <a:avLst/>
                <a:gdLst>
                  <a:gd name="T0" fmla="*/ 27 w 33"/>
                  <a:gd name="T1" fmla="*/ 20 h 24"/>
                  <a:gd name="T2" fmla="*/ 32 w 33"/>
                  <a:gd name="T3" fmla="*/ 15 h 24"/>
                  <a:gd name="T4" fmla="*/ 30 w 33"/>
                  <a:gd name="T5" fmla="*/ 9 h 24"/>
                  <a:gd name="T6" fmla="*/ 0 w 33"/>
                  <a:gd name="T7" fmla="*/ 3 h 24"/>
                  <a:gd name="T8" fmla="*/ 27 w 33"/>
                  <a:gd name="T9" fmla="*/ 2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4">
                    <a:moveTo>
                      <a:pt x="27" y="20"/>
                    </a:moveTo>
                    <a:cubicBezTo>
                      <a:pt x="30" y="19"/>
                      <a:pt x="32" y="19"/>
                      <a:pt x="32" y="15"/>
                    </a:cubicBezTo>
                    <a:cubicBezTo>
                      <a:pt x="33" y="12"/>
                      <a:pt x="32" y="8"/>
                      <a:pt x="30" y="9"/>
                    </a:cubicBezTo>
                    <a:cubicBezTo>
                      <a:pt x="19" y="12"/>
                      <a:pt x="11" y="0"/>
                      <a:pt x="0" y="3"/>
                    </a:cubicBezTo>
                    <a:cubicBezTo>
                      <a:pt x="7" y="21"/>
                      <a:pt x="12" y="24"/>
                      <a:pt x="27" y="2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51">
                <a:extLst>
                  <a:ext uri="{FF2B5EF4-FFF2-40B4-BE49-F238E27FC236}">
                    <a16:creationId xmlns:a16="http://schemas.microsoft.com/office/drawing/2014/main" id="{DF7A664E-B646-DE43-703D-223940E54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9053" y="1776886"/>
                <a:ext cx="106458" cy="43122"/>
              </a:xfrm>
              <a:custGeom>
                <a:avLst/>
                <a:gdLst>
                  <a:gd name="T0" fmla="*/ 45 w 45"/>
                  <a:gd name="T1" fmla="*/ 7 h 18"/>
                  <a:gd name="T2" fmla="*/ 3 w 45"/>
                  <a:gd name="T3" fmla="*/ 0 h 18"/>
                  <a:gd name="T4" fmla="*/ 0 w 45"/>
                  <a:gd name="T5" fmla="*/ 2 h 18"/>
                  <a:gd name="T6" fmla="*/ 2 w 45"/>
                  <a:gd name="T7" fmla="*/ 7 h 18"/>
                  <a:gd name="T8" fmla="*/ 45 w 45"/>
                  <a:gd name="T9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18">
                    <a:moveTo>
                      <a:pt x="45" y="7"/>
                    </a:moveTo>
                    <a:cubicBezTo>
                      <a:pt x="30" y="1"/>
                      <a:pt x="15" y="10"/>
                      <a:pt x="3" y="0"/>
                    </a:cubicBezTo>
                    <a:cubicBezTo>
                      <a:pt x="3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2" y="7"/>
                    </a:cubicBezTo>
                    <a:cubicBezTo>
                      <a:pt x="12" y="17"/>
                      <a:pt x="30" y="18"/>
                      <a:pt x="45" y="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52">
                <a:extLst>
                  <a:ext uri="{FF2B5EF4-FFF2-40B4-BE49-F238E27FC236}">
                    <a16:creationId xmlns:a16="http://schemas.microsoft.com/office/drawing/2014/main" id="{CADDD022-627A-DBD8-DAD9-BB298AC78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216" y="1767454"/>
                <a:ext cx="74116" cy="52554"/>
              </a:xfrm>
              <a:custGeom>
                <a:avLst/>
                <a:gdLst>
                  <a:gd name="T0" fmla="*/ 16 w 31"/>
                  <a:gd name="T1" fmla="*/ 2 h 22"/>
                  <a:gd name="T2" fmla="*/ 1 w 31"/>
                  <a:gd name="T3" fmla="*/ 10 h 22"/>
                  <a:gd name="T4" fmla="*/ 13 w 31"/>
                  <a:gd name="T5" fmla="*/ 15 h 22"/>
                  <a:gd name="T6" fmla="*/ 22 w 31"/>
                  <a:gd name="T7" fmla="*/ 19 h 22"/>
                  <a:gd name="T8" fmla="*/ 30 w 31"/>
                  <a:gd name="T9" fmla="*/ 10 h 22"/>
                  <a:gd name="T10" fmla="*/ 16 w 31"/>
                  <a:gd name="T11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2">
                    <a:moveTo>
                      <a:pt x="16" y="2"/>
                    </a:moveTo>
                    <a:cubicBezTo>
                      <a:pt x="11" y="4"/>
                      <a:pt x="1" y="0"/>
                      <a:pt x="1" y="10"/>
                    </a:cubicBezTo>
                    <a:cubicBezTo>
                      <a:pt x="0" y="19"/>
                      <a:pt x="9" y="13"/>
                      <a:pt x="13" y="15"/>
                    </a:cubicBezTo>
                    <a:cubicBezTo>
                      <a:pt x="16" y="17"/>
                      <a:pt x="19" y="18"/>
                      <a:pt x="22" y="19"/>
                    </a:cubicBezTo>
                    <a:cubicBezTo>
                      <a:pt x="31" y="22"/>
                      <a:pt x="31" y="16"/>
                      <a:pt x="30" y="10"/>
                    </a:cubicBezTo>
                    <a:cubicBezTo>
                      <a:pt x="29" y="2"/>
                      <a:pt x="22" y="3"/>
                      <a:pt x="16" y="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53">
                <a:extLst>
                  <a:ext uri="{FF2B5EF4-FFF2-40B4-BE49-F238E27FC236}">
                    <a16:creationId xmlns:a16="http://schemas.microsoft.com/office/drawing/2014/main" id="{B6289BD0-F406-9BBD-B7AC-BDCBCB750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3693" y="2089521"/>
                <a:ext cx="57946" cy="44469"/>
              </a:xfrm>
              <a:custGeom>
                <a:avLst/>
                <a:gdLst>
                  <a:gd name="T0" fmla="*/ 12 w 24"/>
                  <a:gd name="T1" fmla="*/ 18 h 19"/>
                  <a:gd name="T2" fmla="*/ 23 w 24"/>
                  <a:gd name="T3" fmla="*/ 9 h 19"/>
                  <a:gd name="T4" fmla="*/ 11 w 24"/>
                  <a:gd name="T5" fmla="*/ 0 h 19"/>
                  <a:gd name="T6" fmla="*/ 0 w 24"/>
                  <a:gd name="T7" fmla="*/ 11 h 19"/>
                  <a:gd name="T8" fmla="*/ 12 w 24"/>
                  <a:gd name="T9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9">
                    <a:moveTo>
                      <a:pt x="12" y="18"/>
                    </a:moveTo>
                    <a:cubicBezTo>
                      <a:pt x="19" y="19"/>
                      <a:pt x="24" y="17"/>
                      <a:pt x="23" y="9"/>
                    </a:cubicBezTo>
                    <a:cubicBezTo>
                      <a:pt x="23" y="3"/>
                      <a:pt x="18" y="0"/>
                      <a:pt x="11" y="0"/>
                    </a:cubicBezTo>
                    <a:cubicBezTo>
                      <a:pt x="3" y="0"/>
                      <a:pt x="0" y="4"/>
                      <a:pt x="0" y="11"/>
                    </a:cubicBezTo>
                    <a:cubicBezTo>
                      <a:pt x="0" y="19"/>
                      <a:pt x="6" y="18"/>
                      <a:pt x="12" y="1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54">
                <a:extLst>
                  <a:ext uri="{FF2B5EF4-FFF2-40B4-BE49-F238E27FC236}">
                    <a16:creationId xmlns:a16="http://schemas.microsoft.com/office/drawing/2014/main" id="{0F316C77-D08B-3D63-C79E-4E087EFC3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58513" y="1960155"/>
                <a:ext cx="90287" cy="28299"/>
              </a:xfrm>
              <a:custGeom>
                <a:avLst/>
                <a:gdLst>
                  <a:gd name="T0" fmla="*/ 27 w 38"/>
                  <a:gd name="T1" fmla="*/ 12 h 12"/>
                  <a:gd name="T2" fmla="*/ 38 w 38"/>
                  <a:gd name="T3" fmla="*/ 6 h 12"/>
                  <a:gd name="T4" fmla="*/ 26 w 38"/>
                  <a:gd name="T5" fmla="*/ 0 h 12"/>
                  <a:gd name="T6" fmla="*/ 0 w 38"/>
                  <a:gd name="T7" fmla="*/ 12 h 12"/>
                  <a:gd name="T8" fmla="*/ 27 w 38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2">
                    <a:moveTo>
                      <a:pt x="27" y="12"/>
                    </a:moveTo>
                    <a:cubicBezTo>
                      <a:pt x="31" y="12"/>
                      <a:pt x="38" y="11"/>
                      <a:pt x="38" y="6"/>
                    </a:cubicBezTo>
                    <a:cubicBezTo>
                      <a:pt x="38" y="1"/>
                      <a:pt x="31" y="1"/>
                      <a:pt x="26" y="0"/>
                    </a:cubicBezTo>
                    <a:cubicBezTo>
                      <a:pt x="18" y="0"/>
                      <a:pt x="10" y="3"/>
                      <a:pt x="0" y="12"/>
                    </a:cubicBezTo>
                    <a:cubicBezTo>
                      <a:pt x="12" y="12"/>
                      <a:pt x="19" y="12"/>
                      <a:pt x="27" y="1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55">
                <a:extLst>
                  <a:ext uri="{FF2B5EF4-FFF2-40B4-BE49-F238E27FC236}">
                    <a16:creationId xmlns:a16="http://schemas.microsoft.com/office/drawing/2014/main" id="{7FD7D3FD-C1EC-0AD2-8BD0-4FE32430E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423" y="1635393"/>
                <a:ext cx="64683" cy="45817"/>
              </a:xfrm>
              <a:custGeom>
                <a:avLst/>
                <a:gdLst>
                  <a:gd name="T0" fmla="*/ 18 w 27"/>
                  <a:gd name="T1" fmla="*/ 4 h 19"/>
                  <a:gd name="T2" fmla="*/ 0 w 27"/>
                  <a:gd name="T3" fmla="*/ 12 h 19"/>
                  <a:gd name="T4" fmla="*/ 13 w 27"/>
                  <a:gd name="T5" fmla="*/ 19 h 19"/>
                  <a:gd name="T6" fmla="*/ 27 w 27"/>
                  <a:gd name="T7" fmla="*/ 8 h 19"/>
                  <a:gd name="T8" fmla="*/ 18 w 27"/>
                  <a:gd name="T9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9">
                    <a:moveTo>
                      <a:pt x="18" y="4"/>
                    </a:moveTo>
                    <a:cubicBezTo>
                      <a:pt x="11" y="4"/>
                      <a:pt x="1" y="2"/>
                      <a:pt x="0" y="12"/>
                    </a:cubicBezTo>
                    <a:cubicBezTo>
                      <a:pt x="0" y="17"/>
                      <a:pt x="7" y="19"/>
                      <a:pt x="13" y="19"/>
                    </a:cubicBezTo>
                    <a:cubicBezTo>
                      <a:pt x="21" y="19"/>
                      <a:pt x="27" y="16"/>
                      <a:pt x="27" y="8"/>
                    </a:cubicBezTo>
                    <a:cubicBezTo>
                      <a:pt x="27" y="0"/>
                      <a:pt x="21" y="6"/>
                      <a:pt x="18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56">
                <a:extLst>
                  <a:ext uri="{FF2B5EF4-FFF2-40B4-BE49-F238E27FC236}">
                    <a16:creationId xmlns:a16="http://schemas.microsoft.com/office/drawing/2014/main" id="{4398D162-CBF1-B5F6-7AF0-E36D7DD9B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2083" y="3778019"/>
                <a:ext cx="52555" cy="64683"/>
              </a:xfrm>
              <a:custGeom>
                <a:avLst/>
                <a:gdLst>
                  <a:gd name="T0" fmla="*/ 10 w 22"/>
                  <a:gd name="T1" fmla="*/ 25 h 27"/>
                  <a:gd name="T2" fmla="*/ 15 w 22"/>
                  <a:gd name="T3" fmla="*/ 25 h 27"/>
                  <a:gd name="T4" fmla="*/ 22 w 22"/>
                  <a:gd name="T5" fmla="*/ 15 h 27"/>
                  <a:gd name="T6" fmla="*/ 14 w 22"/>
                  <a:gd name="T7" fmla="*/ 4 h 27"/>
                  <a:gd name="T8" fmla="*/ 3 w 22"/>
                  <a:gd name="T9" fmla="*/ 0 h 27"/>
                  <a:gd name="T10" fmla="*/ 0 w 22"/>
                  <a:gd name="T11" fmla="*/ 5 h 27"/>
                  <a:gd name="T12" fmla="*/ 8 w 22"/>
                  <a:gd name="T13" fmla="*/ 11 h 27"/>
                  <a:gd name="T14" fmla="*/ 11 w 22"/>
                  <a:gd name="T15" fmla="*/ 16 h 27"/>
                  <a:gd name="T16" fmla="*/ 10 w 22"/>
                  <a:gd name="T17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7">
                    <a:moveTo>
                      <a:pt x="10" y="25"/>
                    </a:moveTo>
                    <a:cubicBezTo>
                      <a:pt x="11" y="26"/>
                      <a:pt x="13" y="27"/>
                      <a:pt x="15" y="25"/>
                    </a:cubicBezTo>
                    <a:cubicBezTo>
                      <a:pt x="17" y="22"/>
                      <a:pt x="20" y="18"/>
                      <a:pt x="22" y="15"/>
                    </a:cubicBezTo>
                    <a:cubicBezTo>
                      <a:pt x="19" y="11"/>
                      <a:pt x="17" y="7"/>
                      <a:pt x="14" y="4"/>
                    </a:cubicBezTo>
                    <a:cubicBezTo>
                      <a:pt x="11" y="0"/>
                      <a:pt x="8" y="0"/>
                      <a:pt x="3" y="0"/>
                    </a:cubicBezTo>
                    <a:cubicBezTo>
                      <a:pt x="0" y="0"/>
                      <a:pt x="0" y="3"/>
                      <a:pt x="0" y="5"/>
                    </a:cubicBezTo>
                    <a:cubicBezTo>
                      <a:pt x="0" y="11"/>
                      <a:pt x="3" y="12"/>
                      <a:pt x="8" y="11"/>
                    </a:cubicBezTo>
                    <a:cubicBezTo>
                      <a:pt x="12" y="10"/>
                      <a:pt x="12" y="13"/>
                      <a:pt x="11" y="16"/>
                    </a:cubicBezTo>
                    <a:cubicBezTo>
                      <a:pt x="9" y="19"/>
                      <a:pt x="4" y="21"/>
                      <a:pt x="10" y="2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57">
                <a:extLst>
                  <a:ext uri="{FF2B5EF4-FFF2-40B4-BE49-F238E27FC236}">
                    <a16:creationId xmlns:a16="http://schemas.microsoft.com/office/drawing/2014/main" id="{FF57B076-F2D9-AE9E-F386-2675868874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2377" y="1476379"/>
                <a:ext cx="97025" cy="66030"/>
              </a:xfrm>
              <a:custGeom>
                <a:avLst/>
                <a:gdLst>
                  <a:gd name="T0" fmla="*/ 41 w 41"/>
                  <a:gd name="T1" fmla="*/ 8 h 28"/>
                  <a:gd name="T2" fmla="*/ 0 w 41"/>
                  <a:gd name="T3" fmla="*/ 20 h 28"/>
                  <a:gd name="T4" fmla="*/ 41 w 41"/>
                  <a:gd name="T5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1" h="28">
                    <a:moveTo>
                      <a:pt x="41" y="8"/>
                    </a:moveTo>
                    <a:cubicBezTo>
                      <a:pt x="25" y="0"/>
                      <a:pt x="16" y="16"/>
                      <a:pt x="0" y="20"/>
                    </a:cubicBezTo>
                    <a:cubicBezTo>
                      <a:pt x="20" y="28"/>
                      <a:pt x="28" y="9"/>
                      <a:pt x="41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58">
                <a:extLst>
                  <a:ext uri="{FF2B5EF4-FFF2-40B4-BE49-F238E27FC236}">
                    <a16:creationId xmlns:a16="http://schemas.microsoft.com/office/drawing/2014/main" id="{898A508B-EAD4-AB8A-4CFA-004DF1E66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7479" y="3210695"/>
                <a:ext cx="52555" cy="75464"/>
              </a:xfrm>
              <a:custGeom>
                <a:avLst/>
                <a:gdLst>
                  <a:gd name="T0" fmla="*/ 0 w 22"/>
                  <a:gd name="T1" fmla="*/ 12 h 32"/>
                  <a:gd name="T2" fmla="*/ 8 w 22"/>
                  <a:gd name="T3" fmla="*/ 19 h 32"/>
                  <a:gd name="T4" fmla="*/ 9 w 22"/>
                  <a:gd name="T5" fmla="*/ 30 h 32"/>
                  <a:gd name="T6" fmla="*/ 19 w 22"/>
                  <a:gd name="T7" fmla="*/ 21 h 32"/>
                  <a:gd name="T8" fmla="*/ 15 w 22"/>
                  <a:gd name="T9" fmla="*/ 7 h 32"/>
                  <a:gd name="T10" fmla="*/ 0 w 22"/>
                  <a:gd name="T11" fmla="*/ 1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32">
                    <a:moveTo>
                      <a:pt x="0" y="12"/>
                    </a:moveTo>
                    <a:cubicBezTo>
                      <a:pt x="6" y="11"/>
                      <a:pt x="9" y="12"/>
                      <a:pt x="8" y="19"/>
                    </a:cubicBezTo>
                    <a:cubicBezTo>
                      <a:pt x="7" y="23"/>
                      <a:pt x="3" y="28"/>
                      <a:pt x="9" y="30"/>
                    </a:cubicBezTo>
                    <a:cubicBezTo>
                      <a:pt x="16" y="32"/>
                      <a:pt x="17" y="25"/>
                      <a:pt x="19" y="21"/>
                    </a:cubicBezTo>
                    <a:cubicBezTo>
                      <a:pt x="22" y="16"/>
                      <a:pt x="20" y="11"/>
                      <a:pt x="15" y="7"/>
                    </a:cubicBezTo>
                    <a:cubicBezTo>
                      <a:pt x="7" y="0"/>
                      <a:pt x="4" y="7"/>
                      <a:pt x="0" y="1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59">
                <a:extLst>
                  <a:ext uri="{FF2B5EF4-FFF2-40B4-BE49-F238E27FC236}">
                    <a16:creationId xmlns:a16="http://schemas.microsoft.com/office/drawing/2014/main" id="{C362C155-0B58-5DBE-4471-4C570F68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7046" y="3446518"/>
                <a:ext cx="43122" cy="68725"/>
              </a:xfrm>
              <a:custGeom>
                <a:avLst/>
                <a:gdLst>
                  <a:gd name="T0" fmla="*/ 5 w 18"/>
                  <a:gd name="T1" fmla="*/ 28 h 29"/>
                  <a:gd name="T2" fmla="*/ 18 w 18"/>
                  <a:gd name="T3" fmla="*/ 4 h 29"/>
                  <a:gd name="T4" fmla="*/ 11 w 18"/>
                  <a:gd name="T5" fmla="*/ 1 h 29"/>
                  <a:gd name="T6" fmla="*/ 0 w 18"/>
                  <a:gd name="T7" fmla="*/ 19 h 29"/>
                  <a:gd name="T8" fmla="*/ 5 w 18"/>
                  <a:gd name="T9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9">
                    <a:moveTo>
                      <a:pt x="5" y="28"/>
                    </a:moveTo>
                    <a:cubicBezTo>
                      <a:pt x="14" y="23"/>
                      <a:pt x="14" y="13"/>
                      <a:pt x="18" y="4"/>
                    </a:cubicBezTo>
                    <a:cubicBezTo>
                      <a:pt x="18" y="0"/>
                      <a:pt x="14" y="0"/>
                      <a:pt x="11" y="1"/>
                    </a:cubicBezTo>
                    <a:cubicBezTo>
                      <a:pt x="4" y="4"/>
                      <a:pt x="0" y="11"/>
                      <a:pt x="0" y="19"/>
                    </a:cubicBezTo>
                    <a:cubicBezTo>
                      <a:pt x="0" y="23"/>
                      <a:pt x="3" y="29"/>
                      <a:pt x="5" y="2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60">
                <a:extLst>
                  <a:ext uri="{FF2B5EF4-FFF2-40B4-BE49-F238E27FC236}">
                    <a16:creationId xmlns:a16="http://schemas.microsoft.com/office/drawing/2014/main" id="{73173560-048B-35A3-AD66-18B293D17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7560" y="1851002"/>
                <a:ext cx="74116" cy="40426"/>
              </a:xfrm>
              <a:custGeom>
                <a:avLst/>
                <a:gdLst>
                  <a:gd name="T0" fmla="*/ 23 w 31"/>
                  <a:gd name="T1" fmla="*/ 4 h 17"/>
                  <a:gd name="T2" fmla="*/ 0 w 31"/>
                  <a:gd name="T3" fmla="*/ 8 h 17"/>
                  <a:gd name="T4" fmla="*/ 19 w 31"/>
                  <a:gd name="T5" fmla="*/ 15 h 17"/>
                  <a:gd name="T6" fmla="*/ 30 w 31"/>
                  <a:gd name="T7" fmla="*/ 11 h 17"/>
                  <a:gd name="T8" fmla="*/ 23 w 31"/>
                  <a:gd name="T9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3" y="4"/>
                    </a:moveTo>
                    <a:cubicBezTo>
                      <a:pt x="15" y="0"/>
                      <a:pt x="8" y="1"/>
                      <a:pt x="0" y="8"/>
                    </a:cubicBezTo>
                    <a:cubicBezTo>
                      <a:pt x="7" y="10"/>
                      <a:pt x="13" y="13"/>
                      <a:pt x="19" y="15"/>
                    </a:cubicBezTo>
                    <a:cubicBezTo>
                      <a:pt x="23" y="16"/>
                      <a:pt x="29" y="17"/>
                      <a:pt x="30" y="11"/>
                    </a:cubicBezTo>
                    <a:cubicBezTo>
                      <a:pt x="31" y="8"/>
                      <a:pt x="27" y="6"/>
                      <a:pt x="23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61">
                <a:extLst>
                  <a:ext uri="{FF2B5EF4-FFF2-40B4-BE49-F238E27FC236}">
                    <a16:creationId xmlns:a16="http://schemas.microsoft.com/office/drawing/2014/main" id="{719EFA10-0269-9BC7-4A3F-00F444699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363" y="3081329"/>
                <a:ext cx="72768" cy="59293"/>
              </a:xfrm>
              <a:custGeom>
                <a:avLst/>
                <a:gdLst>
                  <a:gd name="T0" fmla="*/ 24 w 31"/>
                  <a:gd name="T1" fmla="*/ 5 h 25"/>
                  <a:gd name="T2" fmla="*/ 4 w 31"/>
                  <a:gd name="T3" fmla="*/ 7 h 25"/>
                  <a:gd name="T4" fmla="*/ 15 w 31"/>
                  <a:gd name="T5" fmla="*/ 17 h 25"/>
                  <a:gd name="T6" fmla="*/ 26 w 31"/>
                  <a:gd name="T7" fmla="*/ 25 h 25"/>
                  <a:gd name="T8" fmla="*/ 24 w 31"/>
                  <a:gd name="T9" fmla="*/ 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5">
                    <a:moveTo>
                      <a:pt x="24" y="5"/>
                    </a:moveTo>
                    <a:cubicBezTo>
                      <a:pt x="18" y="3"/>
                      <a:pt x="7" y="0"/>
                      <a:pt x="4" y="7"/>
                    </a:cubicBezTo>
                    <a:cubicBezTo>
                      <a:pt x="0" y="14"/>
                      <a:pt x="10" y="15"/>
                      <a:pt x="15" y="17"/>
                    </a:cubicBezTo>
                    <a:cubicBezTo>
                      <a:pt x="18" y="18"/>
                      <a:pt x="20" y="20"/>
                      <a:pt x="26" y="25"/>
                    </a:cubicBezTo>
                    <a:cubicBezTo>
                      <a:pt x="23" y="16"/>
                      <a:pt x="31" y="8"/>
                      <a:pt x="24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62">
                <a:extLst>
                  <a:ext uri="{FF2B5EF4-FFF2-40B4-BE49-F238E27FC236}">
                    <a16:creationId xmlns:a16="http://schemas.microsoft.com/office/drawing/2014/main" id="{38AF6F82-5B6E-E0D7-4F99-0EDC0DEFFB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144" y="3570494"/>
                <a:ext cx="57946" cy="45817"/>
              </a:xfrm>
              <a:custGeom>
                <a:avLst/>
                <a:gdLst>
                  <a:gd name="T0" fmla="*/ 22 w 24"/>
                  <a:gd name="T1" fmla="*/ 6 h 19"/>
                  <a:gd name="T2" fmla="*/ 14 w 24"/>
                  <a:gd name="T3" fmla="*/ 1 h 19"/>
                  <a:gd name="T4" fmla="*/ 1 w 24"/>
                  <a:gd name="T5" fmla="*/ 10 h 19"/>
                  <a:gd name="T6" fmla="*/ 9 w 24"/>
                  <a:gd name="T7" fmla="*/ 18 h 19"/>
                  <a:gd name="T8" fmla="*/ 22 w 24"/>
                  <a:gd name="T9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9">
                    <a:moveTo>
                      <a:pt x="22" y="6"/>
                    </a:moveTo>
                    <a:cubicBezTo>
                      <a:pt x="24" y="0"/>
                      <a:pt x="17" y="4"/>
                      <a:pt x="14" y="1"/>
                    </a:cubicBezTo>
                    <a:cubicBezTo>
                      <a:pt x="9" y="3"/>
                      <a:pt x="2" y="2"/>
                      <a:pt x="1" y="10"/>
                    </a:cubicBezTo>
                    <a:cubicBezTo>
                      <a:pt x="0" y="15"/>
                      <a:pt x="3" y="18"/>
                      <a:pt x="9" y="18"/>
                    </a:cubicBezTo>
                    <a:cubicBezTo>
                      <a:pt x="17" y="19"/>
                      <a:pt x="19" y="11"/>
                      <a:pt x="22" y="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63">
                <a:extLst>
                  <a:ext uri="{FF2B5EF4-FFF2-40B4-BE49-F238E27FC236}">
                    <a16:creationId xmlns:a16="http://schemas.microsoft.com/office/drawing/2014/main" id="{F08618F1-307E-DB80-CCF7-548DEDF7A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8908" y="1457514"/>
                <a:ext cx="74116" cy="47164"/>
              </a:xfrm>
              <a:custGeom>
                <a:avLst/>
                <a:gdLst>
                  <a:gd name="T0" fmla="*/ 31 w 31"/>
                  <a:gd name="T1" fmla="*/ 16 h 20"/>
                  <a:gd name="T2" fmla="*/ 0 w 31"/>
                  <a:gd name="T3" fmla="*/ 19 h 20"/>
                  <a:gd name="T4" fmla="*/ 31 w 31"/>
                  <a:gd name="T5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20">
                    <a:moveTo>
                      <a:pt x="31" y="16"/>
                    </a:moveTo>
                    <a:cubicBezTo>
                      <a:pt x="21" y="11"/>
                      <a:pt x="9" y="0"/>
                      <a:pt x="0" y="19"/>
                    </a:cubicBezTo>
                    <a:cubicBezTo>
                      <a:pt x="11" y="19"/>
                      <a:pt x="21" y="20"/>
                      <a:pt x="31" y="16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64">
                <a:extLst>
                  <a:ext uri="{FF2B5EF4-FFF2-40B4-BE49-F238E27FC236}">
                    <a16:creationId xmlns:a16="http://schemas.microsoft.com/office/drawing/2014/main" id="{17FFD071-60A1-40A2-72D7-620EC76DAC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0189" y="1483117"/>
                <a:ext cx="68726" cy="36383"/>
              </a:xfrm>
              <a:custGeom>
                <a:avLst/>
                <a:gdLst>
                  <a:gd name="T0" fmla="*/ 14 w 29"/>
                  <a:gd name="T1" fmla="*/ 14 h 15"/>
                  <a:gd name="T2" fmla="*/ 29 w 29"/>
                  <a:gd name="T3" fmla="*/ 6 h 15"/>
                  <a:gd name="T4" fmla="*/ 13 w 29"/>
                  <a:gd name="T5" fmla="*/ 1 h 15"/>
                  <a:gd name="T6" fmla="*/ 1 w 29"/>
                  <a:gd name="T7" fmla="*/ 10 h 15"/>
                  <a:gd name="T8" fmla="*/ 14 w 29"/>
                  <a:gd name="T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14" y="14"/>
                    </a:moveTo>
                    <a:cubicBezTo>
                      <a:pt x="20" y="13"/>
                      <a:pt x="23" y="9"/>
                      <a:pt x="29" y="6"/>
                    </a:cubicBezTo>
                    <a:cubicBezTo>
                      <a:pt x="23" y="1"/>
                      <a:pt x="17" y="0"/>
                      <a:pt x="13" y="1"/>
                    </a:cubicBezTo>
                    <a:cubicBezTo>
                      <a:pt x="7" y="1"/>
                      <a:pt x="0" y="5"/>
                      <a:pt x="1" y="10"/>
                    </a:cubicBezTo>
                    <a:cubicBezTo>
                      <a:pt x="2" y="15"/>
                      <a:pt x="9" y="14"/>
                      <a:pt x="14" y="1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65">
                <a:extLst>
                  <a:ext uri="{FF2B5EF4-FFF2-40B4-BE49-F238E27FC236}">
                    <a16:creationId xmlns:a16="http://schemas.microsoft.com/office/drawing/2014/main" id="{D47A2E30-258D-E578-2B0C-129B275DF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5252" y="3012604"/>
                <a:ext cx="43122" cy="56597"/>
              </a:xfrm>
              <a:custGeom>
                <a:avLst/>
                <a:gdLst>
                  <a:gd name="T0" fmla="*/ 9 w 18"/>
                  <a:gd name="T1" fmla="*/ 23 h 24"/>
                  <a:gd name="T2" fmla="*/ 18 w 18"/>
                  <a:gd name="T3" fmla="*/ 11 h 24"/>
                  <a:gd name="T4" fmla="*/ 11 w 18"/>
                  <a:gd name="T5" fmla="*/ 1 h 24"/>
                  <a:gd name="T6" fmla="*/ 6 w 18"/>
                  <a:gd name="T7" fmla="*/ 13 h 24"/>
                  <a:gd name="T8" fmla="*/ 9 w 18"/>
                  <a:gd name="T9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4">
                    <a:moveTo>
                      <a:pt x="9" y="23"/>
                    </a:moveTo>
                    <a:cubicBezTo>
                      <a:pt x="15" y="23"/>
                      <a:pt x="18" y="18"/>
                      <a:pt x="18" y="11"/>
                    </a:cubicBezTo>
                    <a:cubicBezTo>
                      <a:pt x="18" y="6"/>
                      <a:pt x="18" y="0"/>
                      <a:pt x="11" y="1"/>
                    </a:cubicBezTo>
                    <a:cubicBezTo>
                      <a:pt x="5" y="1"/>
                      <a:pt x="0" y="6"/>
                      <a:pt x="6" y="13"/>
                    </a:cubicBezTo>
                    <a:cubicBezTo>
                      <a:pt x="3" y="18"/>
                      <a:pt x="4" y="24"/>
                      <a:pt x="9" y="2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66">
                <a:extLst>
                  <a:ext uri="{FF2B5EF4-FFF2-40B4-BE49-F238E27FC236}">
                    <a16:creationId xmlns:a16="http://schemas.microsoft.com/office/drawing/2014/main" id="{0DB2CFE2-BED5-68F5-D861-A3CE320B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8120" y="3198567"/>
                <a:ext cx="59293" cy="49860"/>
              </a:xfrm>
              <a:custGeom>
                <a:avLst/>
                <a:gdLst>
                  <a:gd name="T0" fmla="*/ 6 w 25"/>
                  <a:gd name="T1" fmla="*/ 19 h 21"/>
                  <a:gd name="T2" fmla="*/ 25 w 25"/>
                  <a:gd name="T3" fmla="*/ 4 h 21"/>
                  <a:gd name="T4" fmla="*/ 3 w 25"/>
                  <a:gd name="T5" fmla="*/ 9 h 21"/>
                  <a:gd name="T6" fmla="*/ 2 w 25"/>
                  <a:gd name="T7" fmla="*/ 17 h 21"/>
                  <a:gd name="T8" fmla="*/ 6 w 25"/>
                  <a:gd name="T9" fmla="*/ 1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1">
                    <a:moveTo>
                      <a:pt x="6" y="19"/>
                    </a:moveTo>
                    <a:cubicBezTo>
                      <a:pt x="11" y="13"/>
                      <a:pt x="24" y="17"/>
                      <a:pt x="25" y="4"/>
                    </a:cubicBezTo>
                    <a:cubicBezTo>
                      <a:pt x="16" y="0"/>
                      <a:pt x="10" y="6"/>
                      <a:pt x="3" y="9"/>
                    </a:cubicBezTo>
                    <a:cubicBezTo>
                      <a:pt x="0" y="11"/>
                      <a:pt x="1" y="14"/>
                      <a:pt x="2" y="17"/>
                    </a:cubicBezTo>
                    <a:cubicBezTo>
                      <a:pt x="2" y="19"/>
                      <a:pt x="5" y="21"/>
                      <a:pt x="6" y="1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67">
                <a:extLst>
                  <a:ext uri="{FF2B5EF4-FFF2-40B4-BE49-F238E27FC236}">
                    <a16:creationId xmlns:a16="http://schemas.microsoft.com/office/drawing/2014/main" id="{261F0982-1D53-41DE-4D9E-62ADDB034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423" y="1604399"/>
                <a:ext cx="83549" cy="33689"/>
              </a:xfrm>
              <a:custGeom>
                <a:avLst/>
                <a:gdLst>
                  <a:gd name="T0" fmla="*/ 25 w 35"/>
                  <a:gd name="T1" fmla="*/ 11 h 14"/>
                  <a:gd name="T2" fmla="*/ 34 w 35"/>
                  <a:gd name="T3" fmla="*/ 8 h 14"/>
                  <a:gd name="T4" fmla="*/ 24 w 35"/>
                  <a:gd name="T5" fmla="*/ 1 h 14"/>
                  <a:gd name="T6" fmla="*/ 0 w 35"/>
                  <a:gd name="T7" fmla="*/ 7 h 14"/>
                  <a:gd name="T8" fmla="*/ 0 w 35"/>
                  <a:gd name="T9" fmla="*/ 11 h 14"/>
                  <a:gd name="T10" fmla="*/ 25 w 35"/>
                  <a:gd name="T11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14">
                    <a:moveTo>
                      <a:pt x="25" y="11"/>
                    </a:moveTo>
                    <a:cubicBezTo>
                      <a:pt x="28" y="11"/>
                      <a:pt x="35" y="14"/>
                      <a:pt x="34" y="8"/>
                    </a:cubicBezTo>
                    <a:cubicBezTo>
                      <a:pt x="34" y="3"/>
                      <a:pt x="29" y="0"/>
                      <a:pt x="24" y="1"/>
                    </a:cubicBezTo>
                    <a:cubicBezTo>
                      <a:pt x="16" y="3"/>
                      <a:pt x="8" y="5"/>
                      <a:pt x="0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9" y="11"/>
                      <a:pt x="17" y="11"/>
                      <a:pt x="25" y="1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68">
                <a:extLst>
                  <a:ext uri="{FF2B5EF4-FFF2-40B4-BE49-F238E27FC236}">
                    <a16:creationId xmlns:a16="http://schemas.microsoft.com/office/drawing/2014/main" id="{C67C5D35-221D-3178-8D35-7FC7EAAE9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2597" y="1508721"/>
                <a:ext cx="84897" cy="33689"/>
              </a:xfrm>
              <a:custGeom>
                <a:avLst/>
                <a:gdLst>
                  <a:gd name="T0" fmla="*/ 36 w 36"/>
                  <a:gd name="T1" fmla="*/ 4 h 14"/>
                  <a:gd name="T2" fmla="*/ 0 w 36"/>
                  <a:gd name="T3" fmla="*/ 10 h 14"/>
                  <a:gd name="T4" fmla="*/ 36 w 36"/>
                  <a:gd name="T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14">
                    <a:moveTo>
                      <a:pt x="36" y="4"/>
                    </a:moveTo>
                    <a:cubicBezTo>
                      <a:pt x="22" y="2"/>
                      <a:pt x="11" y="0"/>
                      <a:pt x="0" y="10"/>
                    </a:cubicBezTo>
                    <a:cubicBezTo>
                      <a:pt x="14" y="14"/>
                      <a:pt x="23" y="9"/>
                      <a:pt x="36" y="4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69">
                <a:extLst>
                  <a:ext uri="{FF2B5EF4-FFF2-40B4-BE49-F238E27FC236}">
                    <a16:creationId xmlns:a16="http://schemas.microsoft.com/office/drawing/2014/main" id="{D649C7FC-DCE3-1668-F8FF-90F85AB5A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24144" y="4013843"/>
                <a:ext cx="32342" cy="48512"/>
              </a:xfrm>
              <a:custGeom>
                <a:avLst/>
                <a:gdLst>
                  <a:gd name="T0" fmla="*/ 5 w 14"/>
                  <a:gd name="T1" fmla="*/ 0 h 20"/>
                  <a:gd name="T2" fmla="*/ 1 w 14"/>
                  <a:gd name="T3" fmla="*/ 10 h 20"/>
                  <a:gd name="T4" fmla="*/ 7 w 14"/>
                  <a:gd name="T5" fmla="*/ 20 h 20"/>
                  <a:gd name="T6" fmla="*/ 14 w 14"/>
                  <a:gd name="T7" fmla="*/ 11 h 20"/>
                  <a:gd name="T8" fmla="*/ 5 w 1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0">
                    <a:moveTo>
                      <a:pt x="5" y="0"/>
                    </a:moveTo>
                    <a:cubicBezTo>
                      <a:pt x="0" y="0"/>
                      <a:pt x="2" y="6"/>
                      <a:pt x="1" y="10"/>
                    </a:cubicBezTo>
                    <a:cubicBezTo>
                      <a:pt x="1" y="15"/>
                      <a:pt x="2" y="20"/>
                      <a:pt x="7" y="20"/>
                    </a:cubicBezTo>
                    <a:cubicBezTo>
                      <a:pt x="11" y="20"/>
                      <a:pt x="14" y="15"/>
                      <a:pt x="14" y="11"/>
                    </a:cubicBezTo>
                    <a:cubicBezTo>
                      <a:pt x="14" y="5"/>
                      <a:pt x="10" y="1"/>
                      <a:pt x="5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70">
                <a:extLst>
                  <a:ext uri="{FF2B5EF4-FFF2-40B4-BE49-F238E27FC236}">
                    <a16:creationId xmlns:a16="http://schemas.microsoft.com/office/drawing/2014/main" id="{49ADBBDE-2AD5-19BC-F40C-6789ED86A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0829" y="4167465"/>
                <a:ext cx="86244" cy="52554"/>
              </a:xfrm>
              <a:custGeom>
                <a:avLst/>
                <a:gdLst>
                  <a:gd name="T0" fmla="*/ 36 w 36"/>
                  <a:gd name="T1" fmla="*/ 0 h 22"/>
                  <a:gd name="T2" fmla="*/ 0 w 36"/>
                  <a:gd name="T3" fmla="*/ 12 h 22"/>
                  <a:gd name="T4" fmla="*/ 36 w 36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2">
                    <a:moveTo>
                      <a:pt x="36" y="0"/>
                    </a:moveTo>
                    <a:cubicBezTo>
                      <a:pt x="28" y="17"/>
                      <a:pt x="12" y="8"/>
                      <a:pt x="0" y="12"/>
                    </a:cubicBezTo>
                    <a:cubicBezTo>
                      <a:pt x="17" y="22"/>
                      <a:pt x="30" y="18"/>
                      <a:pt x="36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71">
                <a:extLst>
                  <a:ext uri="{FF2B5EF4-FFF2-40B4-BE49-F238E27FC236}">
                    <a16:creationId xmlns:a16="http://schemas.microsoft.com/office/drawing/2014/main" id="{A81E1BF9-56EE-E293-D056-C14B6A7DF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8674" y="4242929"/>
                <a:ext cx="64683" cy="43122"/>
              </a:xfrm>
              <a:custGeom>
                <a:avLst/>
                <a:gdLst>
                  <a:gd name="T0" fmla="*/ 1 w 27"/>
                  <a:gd name="T1" fmla="*/ 9 h 18"/>
                  <a:gd name="T2" fmla="*/ 0 w 27"/>
                  <a:gd name="T3" fmla="*/ 13 h 18"/>
                  <a:gd name="T4" fmla="*/ 24 w 27"/>
                  <a:gd name="T5" fmla="*/ 12 h 18"/>
                  <a:gd name="T6" fmla="*/ 27 w 27"/>
                  <a:gd name="T7" fmla="*/ 9 h 18"/>
                  <a:gd name="T8" fmla="*/ 1 w 27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8">
                    <a:moveTo>
                      <a:pt x="1" y="9"/>
                    </a:moveTo>
                    <a:cubicBezTo>
                      <a:pt x="1" y="9"/>
                      <a:pt x="0" y="12"/>
                      <a:pt x="0" y="13"/>
                    </a:cubicBezTo>
                    <a:cubicBezTo>
                      <a:pt x="8" y="18"/>
                      <a:pt x="16" y="15"/>
                      <a:pt x="24" y="12"/>
                    </a:cubicBezTo>
                    <a:cubicBezTo>
                      <a:pt x="24" y="12"/>
                      <a:pt x="25" y="11"/>
                      <a:pt x="27" y="9"/>
                    </a:cubicBezTo>
                    <a:cubicBezTo>
                      <a:pt x="17" y="0"/>
                      <a:pt x="9" y="10"/>
                      <a:pt x="1" y="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72">
                <a:extLst>
                  <a:ext uri="{FF2B5EF4-FFF2-40B4-BE49-F238E27FC236}">
                    <a16:creationId xmlns:a16="http://schemas.microsoft.com/office/drawing/2014/main" id="{5511AFC6-36B3-8709-91FC-2BDFC031E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3412" y="2549041"/>
                <a:ext cx="30994" cy="43122"/>
              </a:xfrm>
              <a:custGeom>
                <a:avLst/>
                <a:gdLst>
                  <a:gd name="T0" fmla="*/ 6 w 13"/>
                  <a:gd name="T1" fmla="*/ 17 h 18"/>
                  <a:gd name="T2" fmla="*/ 12 w 13"/>
                  <a:gd name="T3" fmla="*/ 10 h 18"/>
                  <a:gd name="T4" fmla="*/ 5 w 13"/>
                  <a:gd name="T5" fmla="*/ 1 h 18"/>
                  <a:gd name="T6" fmla="*/ 0 w 13"/>
                  <a:gd name="T7" fmla="*/ 6 h 18"/>
                  <a:gd name="T8" fmla="*/ 6 w 13"/>
                  <a:gd name="T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6" y="17"/>
                    </a:moveTo>
                    <a:cubicBezTo>
                      <a:pt x="11" y="18"/>
                      <a:pt x="11" y="12"/>
                      <a:pt x="12" y="10"/>
                    </a:cubicBezTo>
                    <a:cubicBezTo>
                      <a:pt x="13" y="2"/>
                      <a:pt x="9" y="2"/>
                      <a:pt x="5" y="1"/>
                    </a:cubicBezTo>
                    <a:cubicBezTo>
                      <a:pt x="1" y="0"/>
                      <a:pt x="0" y="2"/>
                      <a:pt x="0" y="6"/>
                    </a:cubicBezTo>
                    <a:cubicBezTo>
                      <a:pt x="0" y="10"/>
                      <a:pt x="1" y="16"/>
                      <a:pt x="6" y="17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73">
                <a:extLst>
                  <a:ext uri="{FF2B5EF4-FFF2-40B4-BE49-F238E27FC236}">
                    <a16:creationId xmlns:a16="http://schemas.microsoft.com/office/drawing/2014/main" id="{85E73E94-B98D-080D-990E-75C17B120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4351" y="4028665"/>
                <a:ext cx="61987" cy="30993"/>
              </a:xfrm>
              <a:custGeom>
                <a:avLst/>
                <a:gdLst>
                  <a:gd name="T0" fmla="*/ 0 w 26"/>
                  <a:gd name="T1" fmla="*/ 13 h 13"/>
                  <a:gd name="T2" fmla="*/ 26 w 26"/>
                  <a:gd name="T3" fmla="*/ 4 h 13"/>
                  <a:gd name="T4" fmla="*/ 0 w 26"/>
                  <a:gd name="T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" h="13">
                    <a:moveTo>
                      <a:pt x="0" y="13"/>
                    </a:moveTo>
                    <a:cubicBezTo>
                      <a:pt x="8" y="6"/>
                      <a:pt x="18" y="11"/>
                      <a:pt x="26" y="4"/>
                    </a:cubicBezTo>
                    <a:cubicBezTo>
                      <a:pt x="5" y="0"/>
                      <a:pt x="2" y="0"/>
                      <a:pt x="0" y="13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74">
                <a:extLst>
                  <a:ext uri="{FF2B5EF4-FFF2-40B4-BE49-F238E27FC236}">
                    <a16:creationId xmlns:a16="http://schemas.microsoft.com/office/drawing/2014/main" id="{1C289EF2-FC64-C5FD-6279-431B7824B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7053" y="4121648"/>
                <a:ext cx="57946" cy="30993"/>
              </a:xfrm>
              <a:custGeom>
                <a:avLst/>
                <a:gdLst>
                  <a:gd name="T0" fmla="*/ 2 w 24"/>
                  <a:gd name="T1" fmla="*/ 5 h 13"/>
                  <a:gd name="T2" fmla="*/ 10 w 24"/>
                  <a:gd name="T3" fmla="*/ 9 h 13"/>
                  <a:gd name="T4" fmla="*/ 24 w 24"/>
                  <a:gd name="T5" fmla="*/ 13 h 13"/>
                  <a:gd name="T6" fmla="*/ 12 w 24"/>
                  <a:gd name="T7" fmla="*/ 2 h 13"/>
                  <a:gd name="T8" fmla="*/ 2 w 24"/>
                  <a:gd name="T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3">
                    <a:moveTo>
                      <a:pt x="2" y="5"/>
                    </a:moveTo>
                    <a:cubicBezTo>
                      <a:pt x="0" y="11"/>
                      <a:pt x="7" y="8"/>
                      <a:pt x="10" y="9"/>
                    </a:cubicBezTo>
                    <a:cubicBezTo>
                      <a:pt x="14" y="10"/>
                      <a:pt x="18" y="11"/>
                      <a:pt x="24" y="13"/>
                    </a:cubicBezTo>
                    <a:cubicBezTo>
                      <a:pt x="22" y="5"/>
                      <a:pt x="17" y="3"/>
                      <a:pt x="12" y="2"/>
                    </a:cubicBezTo>
                    <a:cubicBezTo>
                      <a:pt x="8" y="1"/>
                      <a:pt x="2" y="0"/>
                      <a:pt x="2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75">
                <a:extLst>
                  <a:ext uri="{FF2B5EF4-FFF2-40B4-BE49-F238E27FC236}">
                    <a16:creationId xmlns:a16="http://schemas.microsoft.com/office/drawing/2014/main" id="{CAF59DF6-B1BE-443B-E391-2F3E3818B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342" y="2616420"/>
                <a:ext cx="35036" cy="49860"/>
              </a:xfrm>
              <a:custGeom>
                <a:avLst/>
                <a:gdLst>
                  <a:gd name="T0" fmla="*/ 4 w 15"/>
                  <a:gd name="T1" fmla="*/ 1 h 21"/>
                  <a:gd name="T2" fmla="*/ 2 w 15"/>
                  <a:gd name="T3" fmla="*/ 8 h 21"/>
                  <a:gd name="T4" fmla="*/ 15 w 15"/>
                  <a:gd name="T5" fmla="*/ 21 h 21"/>
                  <a:gd name="T6" fmla="*/ 12 w 15"/>
                  <a:gd name="T7" fmla="*/ 5 h 21"/>
                  <a:gd name="T8" fmla="*/ 4 w 15"/>
                  <a:gd name="T9" fmla="*/ 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1">
                    <a:moveTo>
                      <a:pt x="4" y="1"/>
                    </a:moveTo>
                    <a:cubicBezTo>
                      <a:pt x="0" y="2"/>
                      <a:pt x="0" y="5"/>
                      <a:pt x="2" y="8"/>
                    </a:cubicBezTo>
                    <a:cubicBezTo>
                      <a:pt x="5" y="14"/>
                      <a:pt x="6" y="20"/>
                      <a:pt x="15" y="21"/>
                    </a:cubicBezTo>
                    <a:cubicBezTo>
                      <a:pt x="14" y="15"/>
                      <a:pt x="13" y="10"/>
                      <a:pt x="12" y="5"/>
                    </a:cubicBezTo>
                    <a:cubicBezTo>
                      <a:pt x="11" y="0"/>
                      <a:pt x="7" y="1"/>
                      <a:pt x="4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76">
                <a:extLst>
                  <a:ext uri="{FF2B5EF4-FFF2-40B4-BE49-F238E27FC236}">
                    <a16:creationId xmlns:a16="http://schemas.microsoft.com/office/drawing/2014/main" id="{8607A060-C219-58A2-191F-AFBD9E802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1243" y="2036967"/>
                <a:ext cx="55251" cy="43122"/>
              </a:xfrm>
              <a:custGeom>
                <a:avLst/>
                <a:gdLst>
                  <a:gd name="T0" fmla="*/ 2 w 23"/>
                  <a:gd name="T1" fmla="*/ 8 h 18"/>
                  <a:gd name="T2" fmla="*/ 5 w 23"/>
                  <a:gd name="T3" fmla="*/ 15 h 18"/>
                  <a:gd name="T4" fmla="*/ 23 w 23"/>
                  <a:gd name="T5" fmla="*/ 5 h 18"/>
                  <a:gd name="T6" fmla="*/ 2 w 23"/>
                  <a:gd name="T7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8">
                    <a:moveTo>
                      <a:pt x="2" y="8"/>
                    </a:moveTo>
                    <a:cubicBezTo>
                      <a:pt x="0" y="10"/>
                      <a:pt x="2" y="14"/>
                      <a:pt x="5" y="15"/>
                    </a:cubicBezTo>
                    <a:cubicBezTo>
                      <a:pt x="13" y="18"/>
                      <a:pt x="17" y="12"/>
                      <a:pt x="23" y="5"/>
                    </a:cubicBezTo>
                    <a:cubicBezTo>
                      <a:pt x="14" y="5"/>
                      <a:pt x="7" y="0"/>
                      <a:pt x="2" y="8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77">
                <a:extLst>
                  <a:ext uri="{FF2B5EF4-FFF2-40B4-BE49-F238E27FC236}">
                    <a16:creationId xmlns:a16="http://schemas.microsoft.com/office/drawing/2014/main" id="{1F03CEF4-C9B1-3069-3579-612CDB701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0308" y="4257751"/>
                <a:ext cx="53903" cy="25603"/>
              </a:xfrm>
              <a:custGeom>
                <a:avLst/>
                <a:gdLst>
                  <a:gd name="T0" fmla="*/ 0 w 23"/>
                  <a:gd name="T1" fmla="*/ 5 h 11"/>
                  <a:gd name="T2" fmla="*/ 23 w 23"/>
                  <a:gd name="T3" fmla="*/ 5 h 11"/>
                  <a:gd name="T4" fmla="*/ 0 w 23"/>
                  <a:gd name="T5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0" y="5"/>
                    </a:moveTo>
                    <a:cubicBezTo>
                      <a:pt x="8" y="11"/>
                      <a:pt x="15" y="8"/>
                      <a:pt x="23" y="5"/>
                    </a:cubicBezTo>
                    <a:cubicBezTo>
                      <a:pt x="9" y="0"/>
                      <a:pt x="9" y="0"/>
                      <a:pt x="0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78">
                <a:extLst>
                  <a:ext uri="{FF2B5EF4-FFF2-40B4-BE49-F238E27FC236}">
                    <a16:creationId xmlns:a16="http://schemas.microsoft.com/office/drawing/2014/main" id="{98ABA0B7-E699-CE61-8AB0-158144482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723" y="2301089"/>
                <a:ext cx="43122" cy="36383"/>
              </a:xfrm>
              <a:custGeom>
                <a:avLst/>
                <a:gdLst>
                  <a:gd name="T0" fmla="*/ 0 w 18"/>
                  <a:gd name="T1" fmla="*/ 11 h 15"/>
                  <a:gd name="T2" fmla="*/ 17 w 18"/>
                  <a:gd name="T3" fmla="*/ 6 h 15"/>
                  <a:gd name="T4" fmla="*/ 16 w 18"/>
                  <a:gd name="T5" fmla="*/ 1 h 15"/>
                  <a:gd name="T6" fmla="*/ 0 w 18"/>
                  <a:gd name="T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15">
                    <a:moveTo>
                      <a:pt x="0" y="11"/>
                    </a:moveTo>
                    <a:cubicBezTo>
                      <a:pt x="8" y="15"/>
                      <a:pt x="13" y="11"/>
                      <a:pt x="17" y="6"/>
                    </a:cubicBezTo>
                    <a:cubicBezTo>
                      <a:pt x="18" y="4"/>
                      <a:pt x="18" y="2"/>
                      <a:pt x="16" y="1"/>
                    </a:cubicBezTo>
                    <a:cubicBezTo>
                      <a:pt x="8" y="0"/>
                      <a:pt x="4" y="3"/>
                      <a:pt x="0" y="1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79">
                <a:extLst>
                  <a:ext uri="{FF2B5EF4-FFF2-40B4-BE49-F238E27FC236}">
                    <a16:creationId xmlns:a16="http://schemas.microsoft.com/office/drawing/2014/main" id="{3C3753F5-5D24-D4E6-C266-1EE39C35C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18367" y="4935577"/>
                <a:ext cx="44471" cy="49860"/>
              </a:xfrm>
              <a:custGeom>
                <a:avLst/>
                <a:gdLst>
                  <a:gd name="T0" fmla="*/ 17 w 19"/>
                  <a:gd name="T1" fmla="*/ 21 h 21"/>
                  <a:gd name="T2" fmla="*/ 11 w 19"/>
                  <a:gd name="T3" fmla="*/ 4 h 21"/>
                  <a:gd name="T4" fmla="*/ 3 w 19"/>
                  <a:gd name="T5" fmla="*/ 2 h 21"/>
                  <a:gd name="T6" fmla="*/ 4 w 19"/>
                  <a:gd name="T7" fmla="*/ 9 h 21"/>
                  <a:gd name="T8" fmla="*/ 17 w 19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1">
                    <a:moveTo>
                      <a:pt x="17" y="21"/>
                    </a:moveTo>
                    <a:cubicBezTo>
                      <a:pt x="19" y="14"/>
                      <a:pt x="13" y="9"/>
                      <a:pt x="11" y="4"/>
                    </a:cubicBezTo>
                    <a:cubicBezTo>
                      <a:pt x="9" y="0"/>
                      <a:pt x="6" y="0"/>
                      <a:pt x="3" y="2"/>
                    </a:cubicBezTo>
                    <a:cubicBezTo>
                      <a:pt x="0" y="4"/>
                      <a:pt x="2" y="7"/>
                      <a:pt x="4" y="9"/>
                    </a:cubicBezTo>
                    <a:cubicBezTo>
                      <a:pt x="8" y="13"/>
                      <a:pt x="12" y="17"/>
                      <a:pt x="17" y="2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0">
                <a:extLst>
                  <a:ext uri="{FF2B5EF4-FFF2-40B4-BE49-F238E27FC236}">
                    <a16:creationId xmlns:a16="http://schemas.microsoft.com/office/drawing/2014/main" id="{582D147D-C6CE-5385-C6FF-CB449A00E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02421" y="2287614"/>
                <a:ext cx="66032" cy="22908"/>
              </a:xfrm>
              <a:custGeom>
                <a:avLst/>
                <a:gdLst>
                  <a:gd name="T0" fmla="*/ 0 w 28"/>
                  <a:gd name="T1" fmla="*/ 2 h 10"/>
                  <a:gd name="T2" fmla="*/ 28 w 28"/>
                  <a:gd name="T3" fmla="*/ 6 h 10"/>
                  <a:gd name="T4" fmla="*/ 0 w 28"/>
                  <a:gd name="T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0">
                    <a:moveTo>
                      <a:pt x="0" y="2"/>
                    </a:moveTo>
                    <a:cubicBezTo>
                      <a:pt x="9" y="10"/>
                      <a:pt x="16" y="7"/>
                      <a:pt x="28" y="6"/>
                    </a:cubicBezTo>
                    <a:cubicBezTo>
                      <a:pt x="17" y="0"/>
                      <a:pt x="9" y="1"/>
                      <a:pt x="0" y="2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1">
                <a:extLst>
                  <a:ext uri="{FF2B5EF4-FFF2-40B4-BE49-F238E27FC236}">
                    <a16:creationId xmlns:a16="http://schemas.microsoft.com/office/drawing/2014/main" id="{5A3E9549-0C0A-46FA-F80B-C59F87474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9023" y="2749828"/>
                <a:ext cx="59293" cy="26951"/>
              </a:xfrm>
              <a:custGeom>
                <a:avLst/>
                <a:gdLst>
                  <a:gd name="T0" fmla="*/ 25 w 25"/>
                  <a:gd name="T1" fmla="*/ 9 h 11"/>
                  <a:gd name="T2" fmla="*/ 0 w 25"/>
                  <a:gd name="T3" fmla="*/ 0 h 11"/>
                  <a:gd name="T4" fmla="*/ 25 w 25"/>
                  <a:gd name="T5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25" y="9"/>
                    </a:moveTo>
                    <a:cubicBezTo>
                      <a:pt x="17" y="4"/>
                      <a:pt x="10" y="2"/>
                      <a:pt x="0" y="0"/>
                    </a:cubicBezTo>
                    <a:cubicBezTo>
                      <a:pt x="13" y="11"/>
                      <a:pt x="13" y="11"/>
                      <a:pt x="25" y="9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82">
                <a:extLst>
                  <a:ext uri="{FF2B5EF4-FFF2-40B4-BE49-F238E27FC236}">
                    <a16:creationId xmlns:a16="http://schemas.microsoft.com/office/drawing/2014/main" id="{ECF40B18-2380-F7A4-05ED-8B8A9294F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0344" y="1650215"/>
                <a:ext cx="55251" cy="28299"/>
              </a:xfrm>
              <a:custGeom>
                <a:avLst/>
                <a:gdLst>
                  <a:gd name="T0" fmla="*/ 23 w 23"/>
                  <a:gd name="T1" fmla="*/ 5 h 12"/>
                  <a:gd name="T2" fmla="*/ 0 w 23"/>
                  <a:gd name="T3" fmla="*/ 9 h 12"/>
                  <a:gd name="T4" fmla="*/ 23 w 23"/>
                  <a:gd name="T5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2">
                    <a:moveTo>
                      <a:pt x="23" y="5"/>
                    </a:moveTo>
                    <a:cubicBezTo>
                      <a:pt x="16" y="6"/>
                      <a:pt x="8" y="0"/>
                      <a:pt x="0" y="9"/>
                    </a:cubicBezTo>
                    <a:cubicBezTo>
                      <a:pt x="9" y="10"/>
                      <a:pt x="17" y="12"/>
                      <a:pt x="23" y="5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83">
                <a:extLst>
                  <a:ext uri="{FF2B5EF4-FFF2-40B4-BE49-F238E27FC236}">
                    <a16:creationId xmlns:a16="http://schemas.microsoft.com/office/drawing/2014/main" id="{1B80F539-B900-A6FF-3803-BBCB71986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216" y="1656954"/>
                <a:ext cx="35036" cy="36383"/>
              </a:xfrm>
              <a:custGeom>
                <a:avLst/>
                <a:gdLst>
                  <a:gd name="T0" fmla="*/ 15 w 15"/>
                  <a:gd name="T1" fmla="*/ 11 h 15"/>
                  <a:gd name="T2" fmla="*/ 3 w 15"/>
                  <a:gd name="T3" fmla="*/ 1 h 15"/>
                  <a:gd name="T4" fmla="*/ 1 w 15"/>
                  <a:gd name="T5" fmla="*/ 7 h 15"/>
                  <a:gd name="T6" fmla="*/ 15 w 15"/>
                  <a:gd name="T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5">
                    <a:moveTo>
                      <a:pt x="15" y="11"/>
                    </a:moveTo>
                    <a:cubicBezTo>
                      <a:pt x="12" y="6"/>
                      <a:pt x="10" y="0"/>
                      <a:pt x="3" y="1"/>
                    </a:cubicBezTo>
                    <a:cubicBezTo>
                      <a:pt x="0" y="2"/>
                      <a:pt x="0" y="4"/>
                      <a:pt x="1" y="7"/>
                    </a:cubicBezTo>
                    <a:cubicBezTo>
                      <a:pt x="4" y="13"/>
                      <a:pt x="8" y="15"/>
                      <a:pt x="15" y="1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84">
                <a:extLst>
                  <a:ext uri="{FF2B5EF4-FFF2-40B4-BE49-F238E27FC236}">
                    <a16:creationId xmlns:a16="http://schemas.microsoft.com/office/drawing/2014/main" id="{3C0D7906-AC29-2DEB-5DFA-78F666569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055" y="203157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85">
                <a:extLst>
                  <a:ext uri="{FF2B5EF4-FFF2-40B4-BE49-F238E27FC236}">
                    <a16:creationId xmlns:a16="http://schemas.microsoft.com/office/drawing/2014/main" id="{EF2D6259-1569-A394-7C2E-B9AD2A4F2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8628" y="2010016"/>
                <a:ext cx="40426" cy="26951"/>
              </a:xfrm>
              <a:custGeom>
                <a:avLst/>
                <a:gdLst>
                  <a:gd name="T0" fmla="*/ 2 w 17"/>
                  <a:gd name="T1" fmla="*/ 0 h 11"/>
                  <a:gd name="T2" fmla="*/ 0 w 17"/>
                  <a:gd name="T3" fmla="*/ 3 h 11"/>
                  <a:gd name="T4" fmla="*/ 14 w 17"/>
                  <a:gd name="T5" fmla="*/ 9 h 11"/>
                  <a:gd name="T6" fmla="*/ 17 w 17"/>
                  <a:gd name="T7" fmla="*/ 9 h 11"/>
                  <a:gd name="T8" fmla="*/ 2 w 1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2" y="0"/>
                    </a:moveTo>
                    <a:cubicBezTo>
                      <a:pt x="1" y="0"/>
                      <a:pt x="0" y="0"/>
                      <a:pt x="0" y="3"/>
                    </a:cubicBezTo>
                    <a:cubicBezTo>
                      <a:pt x="2" y="11"/>
                      <a:pt x="9" y="9"/>
                      <a:pt x="14" y="9"/>
                    </a:cubicBezTo>
                    <a:cubicBezTo>
                      <a:pt x="15" y="9"/>
                      <a:pt x="16" y="9"/>
                      <a:pt x="17" y="9"/>
                    </a:cubicBezTo>
                    <a:cubicBezTo>
                      <a:pt x="15" y="1"/>
                      <a:pt x="9" y="0"/>
                      <a:pt x="2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86">
                <a:extLst>
                  <a:ext uri="{FF2B5EF4-FFF2-40B4-BE49-F238E27FC236}">
                    <a16:creationId xmlns:a16="http://schemas.microsoft.com/office/drawing/2014/main" id="{7C667A95-73A3-0027-06D5-D590718C7E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35205" y="4257751"/>
                <a:ext cx="74116" cy="49860"/>
              </a:xfrm>
              <a:custGeom>
                <a:avLst/>
                <a:gdLst>
                  <a:gd name="T0" fmla="*/ 31 w 31"/>
                  <a:gd name="T1" fmla="*/ 0 h 21"/>
                  <a:gd name="T2" fmla="*/ 13 w 31"/>
                  <a:gd name="T3" fmla="*/ 8 h 21"/>
                  <a:gd name="T4" fmla="*/ 0 w 31"/>
                  <a:gd name="T5" fmla="*/ 16 h 21"/>
                  <a:gd name="T6" fmla="*/ 3 w 31"/>
                  <a:gd name="T7" fmla="*/ 21 h 21"/>
                  <a:gd name="T8" fmla="*/ 15 w 31"/>
                  <a:gd name="T9" fmla="*/ 11 h 21"/>
                  <a:gd name="T10" fmla="*/ 15 w 31"/>
                  <a:gd name="T11" fmla="*/ 9 h 21"/>
                  <a:gd name="T12" fmla="*/ 31 w 31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1">
                    <a:moveTo>
                      <a:pt x="31" y="0"/>
                    </a:moveTo>
                    <a:cubicBezTo>
                      <a:pt x="23" y="5"/>
                      <a:pt x="16" y="0"/>
                      <a:pt x="13" y="8"/>
                    </a:cubicBezTo>
                    <a:cubicBezTo>
                      <a:pt x="8" y="10"/>
                      <a:pt x="1" y="8"/>
                      <a:pt x="0" y="16"/>
                    </a:cubicBezTo>
                    <a:cubicBezTo>
                      <a:pt x="0" y="18"/>
                      <a:pt x="0" y="21"/>
                      <a:pt x="3" y="21"/>
                    </a:cubicBezTo>
                    <a:cubicBezTo>
                      <a:pt x="10" y="21"/>
                      <a:pt x="12" y="15"/>
                      <a:pt x="15" y="11"/>
                    </a:cubicBezTo>
                    <a:cubicBezTo>
                      <a:pt x="15" y="10"/>
                      <a:pt x="15" y="10"/>
                      <a:pt x="15" y="9"/>
                    </a:cubicBezTo>
                    <a:cubicBezTo>
                      <a:pt x="20" y="8"/>
                      <a:pt x="27" y="11"/>
                      <a:pt x="31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87">
                <a:extLst>
                  <a:ext uri="{FF2B5EF4-FFF2-40B4-BE49-F238E27FC236}">
                    <a16:creationId xmlns:a16="http://schemas.microsoft.com/office/drawing/2014/main" id="{D23D3FDE-3F20-124E-8B4E-44F07B531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54" y="2067960"/>
                <a:ext cx="2695" cy="4042"/>
              </a:xfrm>
              <a:custGeom>
                <a:avLst/>
                <a:gdLst>
                  <a:gd name="T0" fmla="*/ 1 w 1"/>
                  <a:gd name="T1" fmla="*/ 1 h 2"/>
                  <a:gd name="T2" fmla="*/ 0 w 1"/>
                  <a:gd name="T3" fmla="*/ 0 h 2"/>
                  <a:gd name="T4" fmla="*/ 0 w 1"/>
                  <a:gd name="T5" fmla="*/ 2 h 2"/>
                  <a:gd name="T6" fmla="*/ 1 w 1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cubicBezTo>
                      <a:pt x="1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1" y="2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88">
                <a:extLst>
                  <a:ext uri="{FF2B5EF4-FFF2-40B4-BE49-F238E27FC236}">
                    <a16:creationId xmlns:a16="http://schemas.microsoft.com/office/drawing/2014/main" id="{BF99E672-35C9-2443-65B8-E078678CA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54" y="2065266"/>
                <a:ext cx="0" cy="2695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89">
                <a:extLst>
                  <a:ext uri="{FF2B5EF4-FFF2-40B4-BE49-F238E27FC236}">
                    <a16:creationId xmlns:a16="http://schemas.microsoft.com/office/drawing/2014/main" id="{696555FE-C384-42C0-FCD2-5A3B0EE54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2618" y="2733657"/>
                <a:ext cx="4043" cy="4042"/>
              </a:xfrm>
              <a:custGeom>
                <a:avLst/>
                <a:gdLst>
                  <a:gd name="T0" fmla="*/ 0 w 2"/>
                  <a:gd name="T1" fmla="*/ 0 h 2"/>
                  <a:gd name="T2" fmla="*/ 1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0" y="1"/>
                      <a:pt x="0" y="2"/>
                      <a:pt x="1" y="2"/>
                    </a:cubicBezTo>
                    <a:cubicBezTo>
                      <a:pt x="1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2BDAB8D-5CA9-9A8F-B3B4-815C8A3C3ABE}"/>
                </a:ext>
              </a:extLst>
            </p:cNvPr>
            <p:cNvSpPr/>
            <p:nvPr/>
          </p:nvSpPr>
          <p:spPr>
            <a:xfrm>
              <a:off x="6003635" y="1068974"/>
              <a:ext cx="184731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US" sz="4800" b="1">
                <a:solidFill>
                  <a:schemeClr val="accent1"/>
                </a:solidFill>
              </a:endParaRPr>
            </a:p>
          </p:txBody>
        </p:sp>
      </p:grpSp>
      <p:cxnSp>
        <p:nvCxnSpPr>
          <p:cNvPr id="10" name="Straight Connector 9" descr="Line">
            <a:extLst>
              <a:ext uri="{FF2B5EF4-FFF2-40B4-BE49-F238E27FC236}">
                <a16:creationId xmlns:a16="http://schemas.microsoft.com/office/drawing/2014/main" id="{4C3F4FC5-0C01-4592-9483-D476EA2BDF93}"/>
              </a:ext>
            </a:extLst>
          </p:cNvPr>
          <p:cNvCxnSpPr/>
          <p:nvPr/>
        </p:nvCxnSpPr>
        <p:spPr>
          <a:xfrm>
            <a:off x="6096000" y="4124378"/>
            <a:ext cx="0" cy="396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B748940-040B-B843-BD24-7F9C8AE31608}"/>
              </a:ext>
            </a:extLst>
          </p:cNvPr>
          <p:cNvSpPr/>
          <p:nvPr/>
        </p:nvSpPr>
        <p:spPr>
          <a:xfrm>
            <a:off x="1101428" y="1769201"/>
            <a:ext cx="2416602" cy="312122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FEATUR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AE77F99-7F03-2DFA-179D-9DB35FE553DB}"/>
              </a:ext>
            </a:extLst>
          </p:cNvPr>
          <p:cNvSpPr txBox="1">
            <a:spLocks/>
          </p:cNvSpPr>
          <p:nvPr/>
        </p:nvSpPr>
        <p:spPr>
          <a:xfrm>
            <a:off x="2130468" y="246721"/>
            <a:ext cx="7931484" cy="600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FF0000"/>
                </a:solidFill>
              </a:rPr>
              <a:t>PRODUCT ROADMAP</a:t>
            </a:r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2CDAE0A2-511D-56A7-2E5C-8551BA56B109}"/>
              </a:ext>
            </a:extLst>
          </p:cNvPr>
          <p:cNvSpPr/>
          <p:nvPr/>
        </p:nvSpPr>
        <p:spPr>
          <a:xfrm>
            <a:off x="4766927" y="1766969"/>
            <a:ext cx="2887248" cy="300915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EXPANSIONS + ACQUISTIONS</a:t>
            </a: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5DD7A146-0162-AA73-00DA-83619DC6F1C8}"/>
              </a:ext>
            </a:extLst>
          </p:cNvPr>
          <p:cNvSpPr/>
          <p:nvPr/>
        </p:nvSpPr>
        <p:spPr>
          <a:xfrm>
            <a:off x="8876932" y="1741632"/>
            <a:ext cx="2360573" cy="323327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FINANCIAL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4500D8-3930-0FD5-C53C-67D4565A4E36}"/>
              </a:ext>
            </a:extLst>
          </p:cNvPr>
          <p:cNvSpPr/>
          <p:nvPr/>
        </p:nvSpPr>
        <p:spPr>
          <a:xfrm>
            <a:off x="487695" y="2271116"/>
            <a:ext cx="3647217" cy="2463291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5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8: Introduces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Airbnb Plus 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and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Beyond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21: </a:t>
            </a:r>
            <a:r>
              <a:rPr lang="en-US" sz="1400" b="1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AirCover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– Free coverage for hosts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22: Airbnb instituted a policy of unlimited remote working for almost all its employees,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"Live and Work Anywhere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“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22: Launches </a:t>
            </a:r>
            <a:r>
              <a:rPr lang="en-US" sz="1400" b="1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SplitStay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– Splitting a trip between two different homes in same are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632705-D6E2-1F2E-374F-BE44D58DD0A3}"/>
              </a:ext>
            </a:extLst>
          </p:cNvPr>
          <p:cNvSpPr/>
          <p:nvPr/>
        </p:nvSpPr>
        <p:spPr>
          <a:xfrm>
            <a:off x="4453836" y="2272618"/>
            <a:ext cx="3818865" cy="2439999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5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9: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 million people 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were staying with Airbnb each night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9: Acquires </a:t>
            </a:r>
            <a:r>
              <a:rPr lang="en-US" sz="1400" b="1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Gaest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 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(Germany) and </a:t>
            </a:r>
            <a:r>
              <a:rPr lang="en-US" sz="1400" b="1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HotelTonight</a:t>
            </a:r>
            <a:endParaRPr lang="en-US" sz="1400" b="1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20: Became a 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public company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 via an initial public offering, raising $3.5 billion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21: Acquires </a:t>
            </a:r>
            <a:r>
              <a:rPr lang="en-US" sz="1400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Accomon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– Insurance provider for hosts in Europe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22: Acquires rental places – </a:t>
            </a:r>
            <a:r>
              <a:rPr lang="en-US" sz="1400" err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Nooklyn</a:t>
            </a: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 (New York)  and Tujia (China)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9DCB241-97F0-40C2-B198-06C59F82A655}"/>
              </a:ext>
            </a:extLst>
          </p:cNvPr>
          <p:cNvSpPr/>
          <p:nvPr/>
        </p:nvSpPr>
        <p:spPr>
          <a:xfrm>
            <a:off x="8611696" y="2270831"/>
            <a:ext cx="3358154" cy="2461263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50800" dir="5400000" algn="ctr" rotWithShape="0">
              <a:srgbClr val="000000">
                <a:alpha val="5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19: Airbnb is fined $3 million by the city of San Francisco for violating short-term rental laws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cs typeface="Calibri"/>
              </a:rPr>
              <a:t>2021: Airbnb reports $5.7 billion in revenue and hosts over 1 billion guests.</a:t>
            </a:r>
            <a:endParaRPr lang="en-US" sz="1400">
              <a:solidFill>
                <a:srgbClr val="202122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2022: </a:t>
            </a:r>
            <a:r>
              <a:rPr lang="en-US" sz="1400" b="1">
                <a:solidFill>
                  <a:srgbClr val="202122"/>
                </a:solidFill>
                <a:latin typeface="Calibri"/>
                <a:ea typeface="Calibri"/>
                <a:cs typeface="Calibri"/>
              </a:rPr>
              <a:t>$1.9 Billion profit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57847E7-2F2C-D401-3C2D-F0D2DDDECD3E}"/>
              </a:ext>
            </a:extLst>
          </p:cNvPr>
          <p:cNvSpPr/>
          <p:nvPr/>
        </p:nvSpPr>
        <p:spPr>
          <a:xfrm>
            <a:off x="4303059" y="1148602"/>
            <a:ext cx="3361764" cy="33617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2018            2022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0FAD7CB7-4094-A003-1EAC-CBF410B8B381}"/>
              </a:ext>
            </a:extLst>
          </p:cNvPr>
          <p:cNvSpPr/>
          <p:nvPr/>
        </p:nvSpPr>
        <p:spPr>
          <a:xfrm>
            <a:off x="5759823" y="1221440"/>
            <a:ext cx="448236" cy="2017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4" descr="A black and white sign with text&#10;&#10;Description automatically generated">
            <a:extLst>
              <a:ext uri="{FF2B5EF4-FFF2-40B4-BE49-F238E27FC236}">
                <a16:creationId xmlns:a16="http://schemas.microsoft.com/office/drawing/2014/main" id="{B2C7B8C4-EF7B-226E-3B4B-92FED48167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9870" y="4982152"/>
            <a:ext cx="2485465" cy="1532929"/>
          </a:xfrm>
          <a:prstGeom prst="rect">
            <a:avLst/>
          </a:prstGeom>
        </p:spPr>
      </p:pic>
      <p:pic>
        <p:nvPicPr>
          <p:cNvPr id="5" name="Picture 12" descr="A hexagon with white text and pink hexagon&#10;&#10;Description automatically generated">
            <a:extLst>
              <a:ext uri="{FF2B5EF4-FFF2-40B4-BE49-F238E27FC236}">
                <a16:creationId xmlns:a16="http://schemas.microsoft.com/office/drawing/2014/main" id="{D5FB9C12-10FD-FDB1-0869-9142BCC1FE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8701" y="5212976"/>
            <a:ext cx="1425390" cy="1284196"/>
          </a:xfrm>
          <a:prstGeom prst="rect">
            <a:avLst/>
          </a:prstGeom>
        </p:spPr>
      </p:pic>
      <p:pic>
        <p:nvPicPr>
          <p:cNvPr id="13" name="Picture 13" descr="A white wall with red doors and red letters&#10;&#10;Description automatically generated">
            <a:extLst>
              <a:ext uri="{FF2B5EF4-FFF2-40B4-BE49-F238E27FC236}">
                <a16:creationId xmlns:a16="http://schemas.microsoft.com/office/drawing/2014/main" id="{939A3F71-9546-649E-28B3-DA874A54A0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8017" y="5043612"/>
            <a:ext cx="2743200" cy="1522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860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 descr="Line">
            <a:extLst>
              <a:ext uri="{FF2B5EF4-FFF2-40B4-BE49-F238E27FC236}">
                <a16:creationId xmlns:a16="http://schemas.microsoft.com/office/drawing/2014/main" id="{4C3F4FC5-0C01-4592-9483-D476EA2BDF93}"/>
              </a:ext>
            </a:extLst>
          </p:cNvPr>
          <p:cNvCxnSpPr/>
          <p:nvPr/>
        </p:nvCxnSpPr>
        <p:spPr>
          <a:xfrm>
            <a:off x="6096000" y="4124378"/>
            <a:ext cx="0" cy="396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5DD7A146-0162-AA73-00DA-83619DC6F1C8}"/>
              </a:ext>
            </a:extLst>
          </p:cNvPr>
          <p:cNvSpPr/>
          <p:nvPr/>
        </p:nvSpPr>
        <p:spPr>
          <a:xfrm>
            <a:off x="1951694" y="318483"/>
            <a:ext cx="3223425" cy="883621"/>
          </a:xfrm>
          <a:prstGeom prst="roundRect">
            <a:avLst/>
          </a:prstGeom>
          <a:solidFill>
            <a:schemeClr val="accent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alibri"/>
                <a:cs typeface="Calibri"/>
              </a:rPr>
              <a:t>WHATS NEXT : 2023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22BBB4-A142-8410-AD44-92641C39C5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53" y="5743761"/>
            <a:ext cx="6140010" cy="1036378"/>
          </a:xfrm>
          <a:prstGeom prst="rect">
            <a:avLst/>
          </a:prstGeom>
          <a:solidFill>
            <a:schemeClr val="tx1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10" descr="A screenshot of a phone&#10;&#10;Description automatically generated">
            <a:extLst>
              <a:ext uri="{FF2B5EF4-FFF2-40B4-BE49-F238E27FC236}">
                <a16:creationId xmlns:a16="http://schemas.microsoft.com/office/drawing/2014/main" id="{ACE28AC4-0652-3B2E-9A7F-266BA4E138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385" y="1635219"/>
            <a:ext cx="5905575" cy="357790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5947BF7-6827-CA25-D561-495FC8BEDEDC}"/>
              </a:ext>
            </a:extLst>
          </p:cNvPr>
          <p:cNvSpPr/>
          <p:nvPr/>
        </p:nvSpPr>
        <p:spPr>
          <a:xfrm>
            <a:off x="6252883" y="-1"/>
            <a:ext cx="5995146" cy="685799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  <a:p>
            <a:pPr marL="174625" indent="53975"/>
            <a:r>
              <a:rPr lang="en-US" sz="2400" b="1" dirty="0"/>
              <a:t>Features:</a:t>
            </a:r>
            <a:endParaRPr lang="en-US" sz="2400" dirty="0"/>
          </a:p>
          <a:p>
            <a:pPr marL="174625" indent="336550"/>
            <a:endParaRPr lang="en-US" sz="2000" dirty="0"/>
          </a:p>
          <a:p>
            <a:pPr marL="174625" indent="336550">
              <a:buFont typeface="Arial"/>
              <a:buChar char="•"/>
            </a:pPr>
            <a:r>
              <a:rPr lang="en-US" sz="2000" dirty="0"/>
              <a:t>Total price display</a:t>
            </a:r>
            <a:br>
              <a:rPr lang="en-US" sz="2000" dirty="0"/>
            </a:br>
            <a:endParaRPr lang="en-US" sz="2000" dirty="0"/>
          </a:p>
          <a:p>
            <a:pPr marL="174625" indent="336550">
              <a:buFont typeface="Arial"/>
              <a:buChar char="•"/>
            </a:pPr>
            <a:r>
              <a:rPr lang="en-US" sz="2000" dirty="0"/>
              <a:t>Transparent checkout instructions</a:t>
            </a:r>
            <a:br>
              <a:rPr lang="en-US" sz="2000" dirty="0"/>
            </a:br>
            <a:endParaRPr lang="en-US" sz="2000" dirty="0"/>
          </a:p>
          <a:p>
            <a:pPr marL="174625" indent="336550">
              <a:buFont typeface="Arial"/>
              <a:buChar char="•"/>
            </a:pPr>
            <a:r>
              <a:rPr lang="en-US" sz="2000" dirty="0"/>
              <a:t>Improved maps</a:t>
            </a:r>
            <a:br>
              <a:rPr lang="en-US" sz="2000" dirty="0"/>
            </a:br>
            <a:endParaRPr lang="en-US" sz="2000" dirty="0"/>
          </a:p>
          <a:p>
            <a:pPr marL="174625" indent="336550">
              <a:buFont typeface="Arial"/>
              <a:buChar char="•"/>
            </a:pPr>
            <a:r>
              <a:rPr lang="en-US" sz="2000" dirty="0"/>
              <a:t>Redesigned </a:t>
            </a:r>
            <a:r>
              <a:rPr lang="en-US" sz="2000" dirty="0" err="1"/>
              <a:t>wishlist</a:t>
            </a:r>
            <a:br>
              <a:rPr lang="en-US" sz="2000" dirty="0"/>
            </a:br>
            <a:endParaRPr lang="en-US" sz="2000" dirty="0"/>
          </a:p>
          <a:p>
            <a:pPr marL="174625" indent="336550">
              <a:buFont typeface="Arial"/>
              <a:buChar char="•"/>
            </a:pPr>
            <a:r>
              <a:rPr lang="en-US" sz="2000" dirty="0"/>
              <a:t>Simple and more affordable monthly stays</a:t>
            </a:r>
            <a:br>
              <a:rPr lang="en-US" sz="2000" dirty="0"/>
            </a:br>
            <a:endParaRPr lang="en-US" sz="2000" dirty="0"/>
          </a:p>
          <a:p>
            <a:pPr marL="174625" indent="336550">
              <a:buFont typeface="Arial"/>
              <a:buChar char="•"/>
            </a:pPr>
            <a:r>
              <a:rPr lang="en-US" sz="2000" dirty="0"/>
              <a:t>Priority customer service on trip</a:t>
            </a:r>
            <a:br>
              <a:rPr lang="en-US" sz="2000" dirty="0"/>
            </a:br>
            <a:endParaRPr lang="en-US" sz="2000" dirty="0"/>
          </a:p>
          <a:p>
            <a:pPr marL="174625" indent="336550">
              <a:buFont typeface="Arial"/>
              <a:buChar char="•"/>
            </a:pPr>
            <a:r>
              <a:rPr lang="en-US" sz="2000" dirty="0"/>
              <a:t>Pay over-time</a:t>
            </a:r>
            <a:br>
              <a:rPr lang="en-US" sz="2000" dirty="0"/>
            </a:br>
            <a:endParaRPr lang="en-US" sz="2000" dirty="0"/>
          </a:p>
          <a:p>
            <a:pPr marL="174625" indent="336550">
              <a:buFont typeface="Arial"/>
              <a:buChar char="•"/>
            </a:pPr>
            <a:r>
              <a:rPr lang="en-US" sz="2000" dirty="0"/>
              <a:t>Instant rebooking credit</a:t>
            </a:r>
          </a:p>
          <a:p>
            <a:pPr marL="285750" indent="-285750">
              <a:buFont typeface="Arial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Arial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9382A0-9EA3-BE55-07B2-50D3AE6AA82A}"/>
              </a:ext>
            </a:extLst>
          </p:cNvPr>
          <p:cNvSpPr/>
          <p:nvPr/>
        </p:nvSpPr>
        <p:spPr>
          <a:xfrm>
            <a:off x="285749" y="4908177"/>
            <a:ext cx="1804146" cy="42582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irbnb Rooms Categor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B3E09B-FEAC-202C-7860-3B6A6600E4D9}"/>
              </a:ext>
            </a:extLst>
          </p:cNvPr>
          <p:cNvSpPr/>
          <p:nvPr/>
        </p:nvSpPr>
        <p:spPr>
          <a:xfrm>
            <a:off x="2269191" y="4908176"/>
            <a:ext cx="1804146" cy="42582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designed Filte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1AB4F9-34C3-481F-1AAD-40F9D4DC81C3}"/>
              </a:ext>
            </a:extLst>
          </p:cNvPr>
          <p:cNvSpPr/>
          <p:nvPr/>
        </p:nvSpPr>
        <p:spPr>
          <a:xfrm>
            <a:off x="4185396" y="4908176"/>
            <a:ext cx="1804146" cy="42582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Host Passport</a:t>
            </a:r>
          </a:p>
        </p:txBody>
      </p:sp>
    </p:spTree>
    <p:extLst>
      <p:ext uri="{BB962C8B-B14F-4D97-AF65-F5344CB8AC3E}">
        <p14:creationId xmlns:p14="http://schemas.microsoft.com/office/powerpoint/2010/main" val="32178714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alphaModFix amt="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BF97FE2-8FB6-428B-572D-EBD1F42941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3525" y="1902574"/>
            <a:ext cx="9235766" cy="40978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85E9AE1-9850-8FC9-B6FD-9AE1B3397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726" y="335042"/>
            <a:ext cx="7660863" cy="748780"/>
          </a:xfrm>
        </p:spPr>
        <p:txBody>
          <a:bodyPr/>
          <a:lstStyle/>
          <a:p>
            <a:r>
              <a:rPr lang="en-US" sz="3200">
                <a:ea typeface="+mj-lt"/>
                <a:cs typeface="+mj-lt"/>
              </a:rPr>
              <a:t>INNOVATION</a:t>
            </a:r>
            <a:endParaRPr lang="en-US" sz="32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F93F7F-25F8-7595-DB42-03A2DF0D28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2636851" y="5100138"/>
            <a:ext cx="2120309" cy="4359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2FA047B-610F-9D98-E7AB-CC91545E0388}"/>
              </a:ext>
            </a:extLst>
          </p:cNvPr>
          <p:cNvSpPr txBox="1"/>
          <p:nvPr/>
        </p:nvSpPr>
        <p:spPr>
          <a:xfrm flipH="1">
            <a:off x="2465399" y="5098333"/>
            <a:ext cx="3718207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200" b="1">
                <a:latin typeface="Airbnb Cereal Light"/>
                <a:cs typeface="Aldhabi"/>
              </a:rPr>
              <a:t>Affordable Pricing</a:t>
            </a:r>
          </a:p>
        </p:txBody>
      </p:sp>
      <p:pic>
        <p:nvPicPr>
          <p:cNvPr id="6" name="Picture 5" descr="A red logo with a black background&#10;&#10;Description automatically generated">
            <a:extLst>
              <a:ext uri="{FF2B5EF4-FFF2-40B4-BE49-F238E27FC236}">
                <a16:creationId xmlns:a16="http://schemas.microsoft.com/office/drawing/2014/main" id="{83124C1A-D6AE-C74B-D4A8-FBFC83F0005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1" t="12973" r="13878" b="12973"/>
          <a:stretch/>
        </p:blipFill>
        <p:spPr>
          <a:xfrm>
            <a:off x="310964" y="487006"/>
            <a:ext cx="682313" cy="739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8882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CE3399-46D1-0698-374B-34EFB9914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2" y="509238"/>
            <a:ext cx="10214484" cy="748780"/>
          </a:xfrm>
        </p:spPr>
        <p:txBody>
          <a:bodyPr/>
          <a:lstStyle/>
          <a:p>
            <a:r>
              <a:rPr lang="en-US" sz="3200"/>
              <a:t>DISRUPTIVE INNOVATION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A6D21EA-6716-D8B0-0D73-926F7028A51A}"/>
              </a:ext>
            </a:extLst>
          </p:cNvPr>
          <p:cNvSpPr txBox="1"/>
          <p:nvPr/>
        </p:nvSpPr>
        <p:spPr>
          <a:xfrm>
            <a:off x="7523280" y="4155124"/>
            <a:ext cx="3229163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1" indent="-457200">
              <a:buFont typeface="Wingdings"/>
              <a:buChar char="q"/>
            </a:pPr>
            <a:endParaRPr lang="en-US" b="1">
              <a:solidFill>
                <a:schemeClr val="bg1"/>
              </a:solidFill>
              <a:ea typeface="+mn-lt"/>
              <a:cs typeface="+mn-lt"/>
            </a:endParaRPr>
          </a:p>
          <a:p>
            <a:pPr lvl="1" indent="-457200">
              <a:buFont typeface="Wingdings"/>
              <a:buChar char="q"/>
            </a:pPr>
            <a:endParaRPr lang="en-US" b="1">
              <a:solidFill>
                <a:schemeClr val="bg1"/>
              </a:solidFill>
              <a:ea typeface="+mn-lt"/>
              <a:cs typeface="+mn-lt"/>
            </a:endParaRPr>
          </a:p>
          <a:p>
            <a:pPr lvl="1" indent="-457200">
              <a:buFont typeface="Wingdings"/>
              <a:buChar char="q"/>
            </a:pPr>
            <a:endParaRPr lang="en-US" b="1">
              <a:solidFill>
                <a:schemeClr val="bg1"/>
              </a:solidFill>
              <a:latin typeface="Airbnb Cereal Light"/>
              <a:cs typeface="Arial"/>
            </a:endParaRPr>
          </a:p>
          <a:p>
            <a:pPr lvl="1" indent="-457200">
              <a:buFont typeface="Wingdings"/>
              <a:buChar char="q"/>
            </a:pPr>
            <a:endParaRPr lang="en-US" b="1">
              <a:solidFill>
                <a:schemeClr val="bg1"/>
              </a:solidFill>
              <a:latin typeface="Airbnb Cereal Light"/>
              <a:cs typeface="Arial"/>
            </a:endParaRPr>
          </a:p>
          <a:p>
            <a:pPr lvl="1" indent="-457200">
              <a:buFont typeface="Wingdings"/>
              <a:buChar char="q"/>
            </a:pPr>
            <a:endParaRPr lang="en-US" b="1">
              <a:solidFill>
                <a:schemeClr val="bg1"/>
              </a:solidFill>
              <a:cs typeface="Arial"/>
            </a:endParaRPr>
          </a:p>
          <a:p>
            <a:pPr marL="457200" indent="-457200">
              <a:buFont typeface="Wingdings"/>
              <a:buChar char="q"/>
            </a:pPr>
            <a:endParaRPr lang="en-US" b="1">
              <a:solidFill>
                <a:schemeClr val="bg1"/>
              </a:solidFill>
            </a:endParaRPr>
          </a:p>
          <a:p>
            <a:pPr marL="457200" indent="-457200">
              <a:buFont typeface="Wingdings"/>
              <a:buChar char="q"/>
            </a:pPr>
            <a:endParaRPr lang="en-US" b="1">
              <a:solidFill>
                <a:schemeClr val="bg1"/>
              </a:solidFill>
            </a:endParaRPr>
          </a:p>
          <a:p>
            <a:pPr marL="285750" indent="-285750">
              <a:buFont typeface="Wingdings"/>
              <a:buChar char="q"/>
            </a:pP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FAE443-FE18-71BD-E513-735A14B54398}"/>
              </a:ext>
            </a:extLst>
          </p:cNvPr>
          <p:cNvSpPr txBox="1"/>
          <p:nvPr/>
        </p:nvSpPr>
        <p:spPr>
          <a:xfrm>
            <a:off x="914400" y="5765006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b="1">
              <a:solidFill>
                <a:srgbClr val="FFFFFF"/>
              </a:solidFill>
            </a:endParaRPr>
          </a:p>
        </p:txBody>
      </p:sp>
      <p:graphicFrame>
        <p:nvGraphicFramePr>
          <p:cNvPr id="92" name="Diagram 5">
            <a:extLst>
              <a:ext uri="{FF2B5EF4-FFF2-40B4-BE49-F238E27FC236}">
                <a16:creationId xmlns:a16="http://schemas.microsoft.com/office/drawing/2014/main" id="{B2A584CA-9B4F-E6EA-D1FF-206BB04CA3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6812228"/>
              </p:ext>
            </p:extLst>
          </p:nvPr>
        </p:nvGraphicFramePr>
        <p:xfrm>
          <a:off x="4583522" y="76200"/>
          <a:ext cx="7029681" cy="7419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7" name="Picture 17">
            <a:extLst>
              <a:ext uri="{FF2B5EF4-FFF2-40B4-BE49-F238E27FC236}">
                <a16:creationId xmlns:a16="http://schemas.microsoft.com/office/drawing/2014/main" id="{1F3FBF28-F012-2A65-D0F8-A5CEE00794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011" y="2480263"/>
            <a:ext cx="2938310" cy="2950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634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irbnb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5A5F"/>
      </a:accent1>
      <a:accent2>
        <a:srgbClr val="00A69A"/>
      </a:accent2>
      <a:accent3>
        <a:srgbClr val="FB642C"/>
      </a:accent3>
      <a:accent4>
        <a:srgbClr val="484848"/>
      </a:accent4>
      <a:accent5>
        <a:srgbClr val="767676"/>
      </a:accent5>
      <a:accent6>
        <a:srgbClr val="ADB9CA"/>
      </a:accent6>
      <a:hlink>
        <a:srgbClr val="FF5A60"/>
      </a:hlink>
      <a:folHlink>
        <a:srgbClr val="D93D04"/>
      </a:folHlink>
    </a:clrScheme>
    <a:fontScheme name="Custom 40">
      <a:majorFont>
        <a:latin typeface="Circular"/>
        <a:ea typeface=""/>
        <a:cs typeface=""/>
      </a:majorFont>
      <a:minorFont>
        <a:latin typeface="Airbnb Cereal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irbnb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5A5F"/>
      </a:accent1>
      <a:accent2>
        <a:srgbClr val="00A69A"/>
      </a:accent2>
      <a:accent3>
        <a:srgbClr val="FB642C"/>
      </a:accent3>
      <a:accent4>
        <a:srgbClr val="484848"/>
      </a:accent4>
      <a:accent5>
        <a:srgbClr val="767676"/>
      </a:accent5>
      <a:accent6>
        <a:srgbClr val="ADB9CA"/>
      </a:accent6>
      <a:hlink>
        <a:srgbClr val="FF5A60"/>
      </a:hlink>
      <a:folHlink>
        <a:srgbClr val="D93D04"/>
      </a:folHlink>
    </a:clrScheme>
    <a:fontScheme name="Custom 40">
      <a:majorFont>
        <a:latin typeface="Circular"/>
        <a:ea typeface=""/>
        <a:cs typeface=""/>
      </a:majorFont>
      <a:minorFont>
        <a:latin typeface="Airbnb Cereal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irbnb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5A5F"/>
      </a:accent1>
      <a:accent2>
        <a:srgbClr val="00A69A"/>
      </a:accent2>
      <a:accent3>
        <a:srgbClr val="FB642C"/>
      </a:accent3>
      <a:accent4>
        <a:srgbClr val="484848"/>
      </a:accent4>
      <a:accent5>
        <a:srgbClr val="767676"/>
      </a:accent5>
      <a:accent6>
        <a:srgbClr val="ADB9CA"/>
      </a:accent6>
      <a:hlink>
        <a:srgbClr val="FF5A60"/>
      </a:hlink>
      <a:folHlink>
        <a:srgbClr val="D93D04"/>
      </a:folHlink>
    </a:clrScheme>
    <a:fontScheme name="Custom 40">
      <a:majorFont>
        <a:latin typeface="Circular"/>
        <a:ea typeface=""/>
        <a:cs typeface=""/>
      </a:majorFont>
      <a:minorFont>
        <a:latin typeface="Airbnb Cereal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airbnb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5A5F"/>
      </a:accent1>
      <a:accent2>
        <a:srgbClr val="00A69A"/>
      </a:accent2>
      <a:accent3>
        <a:srgbClr val="FB642C"/>
      </a:accent3>
      <a:accent4>
        <a:srgbClr val="484848"/>
      </a:accent4>
      <a:accent5>
        <a:srgbClr val="767676"/>
      </a:accent5>
      <a:accent6>
        <a:srgbClr val="ADB9CA"/>
      </a:accent6>
      <a:hlink>
        <a:srgbClr val="FF5A60"/>
      </a:hlink>
      <a:folHlink>
        <a:srgbClr val="D93D04"/>
      </a:folHlink>
    </a:clrScheme>
    <a:fontScheme name="Custom 40">
      <a:majorFont>
        <a:latin typeface="Circular"/>
        <a:ea typeface=""/>
        <a:cs typeface=""/>
      </a:majorFont>
      <a:minorFont>
        <a:latin typeface="Airbnb Cereal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F2DE0D1A70524B9164BCE6F2057008" ma:contentTypeVersion="11" ma:contentTypeDescription="Create a new document." ma:contentTypeScope="" ma:versionID="7f9c3eb9b255ecefb80dd1e503579723">
  <xsd:schema xmlns:xsd="http://www.w3.org/2001/XMLSchema" xmlns:xs="http://www.w3.org/2001/XMLSchema" xmlns:p="http://schemas.microsoft.com/office/2006/metadata/properties" xmlns:ns3="61b33a7e-fb1d-4ee7-aee3-775cb5006b2c" xmlns:ns4="6ed8a6b5-9248-4d66-a01c-bfc50371386e" targetNamespace="http://schemas.microsoft.com/office/2006/metadata/properties" ma:root="true" ma:fieldsID="f55c6d2505d0ae56f2ff5e25f728a68d" ns3:_="" ns4:_="">
    <xsd:import namespace="61b33a7e-fb1d-4ee7-aee3-775cb5006b2c"/>
    <xsd:import namespace="6ed8a6b5-9248-4d66-a01c-bfc50371386e"/>
    <xsd:element name="properties">
      <xsd:complexType>
        <xsd:sequence>
          <xsd:element name="documentManagement">
            <xsd:complexType>
              <xsd:all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b33a7e-fb1d-4ee7-aee3-775cb5006b2c" elementFormDefault="qualified">
    <xsd:import namespace="http://schemas.microsoft.com/office/2006/documentManagement/types"/>
    <xsd:import namespace="http://schemas.microsoft.com/office/infopath/2007/PartnerControls"/>
    <xsd:element name="_activity" ma:index="8" nillable="true" ma:displayName="_activity" ma:hidden="true" ma:internalName="_activity">
      <xsd:simpleType>
        <xsd:restriction base="dms:Note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d8a6b5-9248-4d66-a01c-bfc50371386e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1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1b33a7e-fb1d-4ee7-aee3-775cb5006b2c" xsi:nil="true"/>
  </documentManagement>
</p:properties>
</file>

<file path=customXml/itemProps1.xml><?xml version="1.0" encoding="utf-8"?>
<ds:datastoreItem xmlns:ds="http://schemas.openxmlformats.org/officeDocument/2006/customXml" ds:itemID="{46B52A18-AB91-41D9-AA83-4716CAF30D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b33a7e-fb1d-4ee7-aee3-775cb5006b2c"/>
    <ds:schemaRef ds:uri="6ed8a6b5-9248-4d66-a01c-bfc5037138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A4357D1-6F02-4A41-ACF6-CDAEEBDA2C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0A818A4-53B5-4ABF-904E-0052B5B405BA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6ed8a6b5-9248-4d66-a01c-bfc50371386e"/>
    <ds:schemaRef ds:uri="61b33a7e-fb1d-4ee7-aee3-775cb5006b2c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103</Words>
  <Application>Microsoft Office PowerPoint</Application>
  <PresentationFormat>Widescreen</PresentationFormat>
  <Paragraphs>263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irbnb Cereal Light</vt:lpstr>
      <vt:lpstr>Arial</vt:lpstr>
      <vt:lpstr>Calibri</vt:lpstr>
      <vt:lpstr>Circular</vt:lpstr>
      <vt:lpstr>Segoe UI</vt:lpstr>
      <vt:lpstr>Wingdings</vt:lpstr>
      <vt:lpstr>Office Theme</vt:lpstr>
      <vt:lpstr>Office Theme</vt:lpstr>
      <vt:lpstr>Office Theme</vt:lpstr>
      <vt:lpstr>Office Theme</vt:lpstr>
      <vt:lpstr>think-cell Slide</vt:lpstr>
      <vt:lpstr>AirBed &amp; Breakfas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NOVATION</vt:lpstr>
      <vt:lpstr>DISRUPTIVE INNOVATION</vt:lpstr>
      <vt:lpstr>STICKINESS</vt:lpstr>
      <vt:lpstr>VALUE CREATION</vt:lpstr>
      <vt:lpstr>MARKET STRATEGY</vt:lpstr>
      <vt:lpstr>MARKET TYPES</vt:lpstr>
      <vt:lpstr>PowerPoint Presentation</vt:lpstr>
      <vt:lpstr> COMPETITORS</vt:lpstr>
      <vt:lpstr>COMPARING REVENUE </vt:lpstr>
      <vt:lpstr>CRITICAL APPRECIATION</vt:lpstr>
      <vt:lpstr>REFEREN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rBed&amp;Breakfast</dc:title>
  <dc:creator>The Creative Next</dc:creator>
  <cp:lastModifiedBy>S, Sushrutha</cp:lastModifiedBy>
  <cp:revision>11</cp:revision>
  <dcterms:created xsi:type="dcterms:W3CDTF">2021-02-20T13:18:17Z</dcterms:created>
  <dcterms:modified xsi:type="dcterms:W3CDTF">2023-07-08T23:5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F2DE0D1A70524B9164BCE6F2057008</vt:lpwstr>
  </property>
</Properties>
</file>